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7.xml" ContentType="application/vnd.openxmlformats-officedocument.them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17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70" r:id="rId6"/>
    <p:sldMasterId id="2147483692" r:id="rId7"/>
    <p:sldMasterId id="2147483703" r:id="rId8"/>
    <p:sldMasterId id="2147483723" r:id="rId9"/>
    <p:sldMasterId id="2147483730" r:id="rId10"/>
    <p:sldMasterId id="2147483735" r:id="rId11"/>
    <p:sldMasterId id="2147483758" r:id="rId12"/>
  </p:sldMasterIdLst>
  <p:notesMasterIdLst>
    <p:notesMasterId r:id="rId24"/>
  </p:notesMasterIdLst>
  <p:sldIdLst>
    <p:sldId id="2147478562" r:id="rId13"/>
    <p:sldId id="8715" r:id="rId14"/>
    <p:sldId id="277" r:id="rId15"/>
    <p:sldId id="2147478559" r:id="rId16"/>
    <p:sldId id="282" r:id="rId17"/>
    <p:sldId id="2147478573" r:id="rId18"/>
    <p:sldId id="2147478576" r:id="rId19"/>
    <p:sldId id="2147478575" r:id="rId20"/>
    <p:sldId id="2147478561" r:id="rId21"/>
    <p:sldId id="375" r:id="rId22"/>
    <p:sldId id="2147478569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92"/>
    <a:srgbClr val="660066"/>
    <a:srgbClr val="7F7F7F"/>
    <a:srgbClr val="FAB8CB"/>
    <a:srgbClr val="D9D9D9"/>
    <a:srgbClr val="E8E8E8"/>
    <a:srgbClr val="152A38"/>
    <a:srgbClr val="00AEE5"/>
    <a:srgbClr val="737373"/>
    <a:srgbClr val="005B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BF6664-B44F-4E96-9D68-5245D524A0F3}" v="20" dt="2024-03-05T05:49:41.3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64" autoAdjust="0"/>
    <p:restoredTop sz="92224" autoAdjust="0"/>
  </p:normalViewPr>
  <p:slideViewPr>
    <p:cSldViewPr snapToGrid="0">
      <p:cViewPr varScale="1">
        <p:scale>
          <a:sx n="76" d="100"/>
          <a:sy n="76" d="100"/>
        </p:scale>
        <p:origin x="91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C3AFB6-2059-410C-8249-D09C6AAB76A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56A54B-4615-4030-B453-1B07FEDBF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738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C68444-912D-4340-80A5-9C418ADEF6D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096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6A54B-4615-4030-B453-1B07FEDBFA3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6418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6939BB-9CE2-F34A-9C77-48BDECDCB60A}" type="slidenum">
              <a:rPr kumimoji="0" lang="en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8819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6A54B-4615-4030-B453-1B07FEDBFA3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8885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6" Type="http://schemas.openxmlformats.org/officeDocument/2006/relationships/image" Target="../media/image9.png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5.xml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7.xml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5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6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7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8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6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7.xml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9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7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8.xml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0.xml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19EF3A-3418-4F52-82F5-DEB9FFB4CD8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501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048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F6612F-FC01-40A2-8346-A2C2DE6FD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30D0CB-66BF-4272-B693-4655E6A4CE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EE96CED-8E9F-434E-AE8F-FDE0D67CC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3BE4D-F0CA-47B7-9094-D9A334E1AF28}" type="datetimeFigureOut">
              <a:rPr lang="de-AT" smtClean="0"/>
              <a:t>19.04.2024</a:t>
            </a:fld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82DB00D-30EF-4DDF-9288-E94A741A1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4000B8E-F851-482A-936D-2D6268230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F10C1-8A0A-4EC9-BBD0-84CBFC6E1F35}" type="slidenum">
              <a:rPr lang="de-AT" smtClean="0"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81035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19/04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5E79DE-C475-A9B8-13D3-A5EB2CA264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520" y="943606"/>
            <a:ext cx="10984897" cy="369455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609494" indent="0">
              <a:buFontTx/>
              <a:buNone/>
              <a:defRPr/>
            </a:lvl2pPr>
            <a:lvl3pPr marL="1218986" indent="0">
              <a:buFontTx/>
              <a:buNone/>
              <a:defRPr/>
            </a:lvl3pPr>
            <a:lvl4pPr marL="1828480" indent="0">
              <a:buFontTx/>
              <a:buNone/>
              <a:defRPr/>
            </a:lvl4pPr>
            <a:lvl5pPr marL="243797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71050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43F00897-3303-4D01-8346-A8C285FA1C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1225" b="22174"/>
          <a:stretch/>
        </p:blipFill>
        <p:spPr>
          <a:xfrm>
            <a:off x="0" y="-401167"/>
            <a:ext cx="12191999" cy="541600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C1DB425C-DB45-BB4B-B0CD-404AE0C29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3486" t="24765" r="8277" b="28474"/>
          <a:stretch/>
        </p:blipFill>
        <p:spPr>
          <a:xfrm>
            <a:off x="9108395" y="6021714"/>
            <a:ext cx="2858319" cy="799031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3537947C-2F19-EF41-BEDA-940C10B9EF35}"/>
              </a:ext>
            </a:extLst>
          </p:cNvPr>
          <p:cNvSpPr/>
          <p:nvPr/>
        </p:nvSpPr>
        <p:spPr>
          <a:xfrm>
            <a:off x="5339" y="2807829"/>
            <a:ext cx="9961139" cy="2207005"/>
          </a:xfrm>
          <a:prstGeom prst="rtTriangle">
            <a:avLst/>
          </a:prstGeom>
          <a:solidFill>
            <a:schemeClr val="tx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 userDrawn="1"/>
        </p:nvSpPr>
        <p:spPr>
          <a:xfrm flipH="1">
            <a:off x="-33299" y="3547150"/>
            <a:ext cx="12225297" cy="1467684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199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54106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252731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6574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C1DB425C-DB45-BB4B-B0CD-404AE0C29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3486" t="24765" r="8277" b="28474"/>
          <a:stretch/>
        </p:blipFill>
        <p:spPr>
          <a:xfrm>
            <a:off x="9108395" y="6021714"/>
            <a:ext cx="2858319" cy="799031"/>
          </a:xfrm>
          <a:prstGeom prst="rect">
            <a:avLst/>
          </a:prstGeom>
        </p:spPr>
      </p:pic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/>
        </p:nvSpPr>
        <p:spPr>
          <a:xfrm flipH="1">
            <a:off x="-33298" y="3090502"/>
            <a:ext cx="12225297" cy="1967670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55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0B3EE2-0917-4527-839B-478DE0399B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3708" y="1914726"/>
            <a:ext cx="4740388" cy="954991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>
          <a:xfrm>
            <a:off x="2059889" y="3199736"/>
            <a:ext cx="8840220" cy="628121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SG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870D1E5-3887-4980-BD83-1FF467448DE5}"/>
              </a:ext>
            </a:extLst>
          </p:cNvPr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983D52BF-AFD3-4FEF-AD3A-A2C991C57E67}"/>
              </a:ext>
            </a:extLst>
          </p:cNvPr>
          <p:cNvSpPr txBox="1">
            <a:spLocks/>
          </p:cNvSpPr>
          <p:nvPr userDrawn="1"/>
        </p:nvSpPr>
        <p:spPr bwMode="ltGray">
          <a:xfrm>
            <a:off x="11762436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0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0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7" name="Picture 606" descr="Image result for al futtaim logo">
            <a:extLst>
              <a:ext uri="{FF2B5EF4-FFF2-40B4-BE49-F238E27FC236}">
                <a16:creationId xmlns:a16="http://schemas.microsoft.com/office/drawing/2014/main" id="{AFAE479C-7A6B-4430-8E64-D5154DCA585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1170FDE-1F8A-4026-A8C5-4B13B02609F1}"/>
              </a:ext>
            </a:extLst>
          </p:cNvPr>
          <p:cNvSpPr txBox="1"/>
          <p:nvPr userDrawn="1"/>
        </p:nvSpPr>
        <p:spPr>
          <a:xfrm>
            <a:off x="254244" y="6587861"/>
            <a:ext cx="1104790" cy="217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423873717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/>
        </p:nvSpPr>
        <p:spPr>
          <a:xfrm flipH="1">
            <a:off x="-33298" y="3090502"/>
            <a:ext cx="12225297" cy="1967670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err="1">
              <a:solidFill>
                <a:schemeClr val="tx1"/>
              </a:solidFill>
            </a:endParaRPr>
          </a:p>
        </p:txBody>
      </p:sp>
      <p:pic>
        <p:nvPicPr>
          <p:cNvPr id="18" name="Picture 102" descr="C:\Users\146002\Documents\TEMPLATES - add SOP template\AFF Logo.png">
            <a:extLst>
              <a:ext uri="{FF2B5EF4-FFF2-40B4-BE49-F238E27FC236}">
                <a16:creationId xmlns:a16="http://schemas.microsoft.com/office/drawing/2014/main" id="{982DFDF8-772C-4D43-987D-0A70D119A01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498" y="6058182"/>
            <a:ext cx="2769332" cy="5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 person standing next to a car&#10;&#10;Description automatically generated with medium confidence">
            <a:extLst>
              <a:ext uri="{FF2B5EF4-FFF2-40B4-BE49-F238E27FC236}">
                <a16:creationId xmlns:a16="http://schemas.microsoft.com/office/drawing/2014/main" id="{2C9764B8-0DF2-470D-B714-D7A2F0142B0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1774968"/>
            <a:ext cx="12192000" cy="411298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9AD74DE-AF55-4D7D-9F9E-2BE96676AD1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22" y="6163354"/>
            <a:ext cx="1188095" cy="420704"/>
          </a:xfrm>
          <a:prstGeom prst="rect">
            <a:avLst/>
          </a:prstGeom>
        </p:spPr>
      </p:pic>
      <p:pic>
        <p:nvPicPr>
          <p:cNvPr id="14" name="Picture 13" descr="Logo, company name&#10;&#10;Description automatically generated">
            <a:extLst>
              <a:ext uri="{FF2B5EF4-FFF2-40B4-BE49-F238E27FC236}">
                <a16:creationId xmlns:a16="http://schemas.microsoft.com/office/drawing/2014/main" id="{52A0DA7E-F6BF-4486-ABB1-398E05189E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475625" y="5689618"/>
            <a:ext cx="1936170" cy="1368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53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740931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rgbClr val="FFFFFF"/>
                </a:solidFill>
                <a:latin typeface="Calibri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38402149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21363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89659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90959" y="1622139"/>
            <a:ext cx="11410091" cy="1256112"/>
          </a:xfrm>
        </p:spPr>
        <p:txBody>
          <a:bodyPr/>
          <a:lstStyle>
            <a:lvl1pPr>
              <a:defRPr baseline="0"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9932" y="1006137"/>
            <a:ext cx="11410091" cy="410668"/>
          </a:xfrm>
        </p:spPr>
        <p:txBody>
          <a:bodyPr>
            <a:noAutofit/>
          </a:bodyPr>
          <a:lstStyle>
            <a:lvl1pPr marL="0" indent="0">
              <a:lnSpc>
                <a:spcPts val="2737"/>
              </a:lnSpc>
              <a:buNone/>
              <a:defRPr sz="2281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389930" y="319272"/>
            <a:ext cx="10972800" cy="31402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1247547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6024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107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39894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2/08/2020 04:05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5/07/2020 16:01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13240" name="Picture 600" descr="C:\Users\MYTHIL~1\AppData\Local\Temp\notes1FCF23\~b522205.TMP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66559" y="6007013"/>
            <a:ext cx="3028144" cy="64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19EF3A-3418-4F52-82F5-DEB9FFB4CD8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501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229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86929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691397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58699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rgbClr val="FFFFFF"/>
                </a:solidFill>
                <a:latin typeface="Calibri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19680275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708257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0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C1DB425C-DB45-BB4B-B0CD-404AE0C29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3486" t="24765" r="8277" b="28474"/>
          <a:stretch/>
        </p:blipFill>
        <p:spPr>
          <a:xfrm>
            <a:off x="9108395" y="6021714"/>
            <a:ext cx="2858319" cy="799031"/>
          </a:xfrm>
          <a:prstGeom prst="rect">
            <a:avLst/>
          </a:prstGeom>
        </p:spPr>
      </p:pic>
      <p:pic>
        <p:nvPicPr>
          <p:cNvPr id="13" name="Picture 12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79F5D29D-1068-E442-854A-8034DF64995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510"/>
          <a:stretch/>
        </p:blipFill>
        <p:spPr>
          <a:xfrm>
            <a:off x="-8550" y="-1"/>
            <a:ext cx="12207838" cy="5019882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3537947C-2F19-EF41-BEDA-940C10B9EF35}"/>
              </a:ext>
            </a:extLst>
          </p:cNvPr>
          <p:cNvSpPr/>
          <p:nvPr/>
        </p:nvSpPr>
        <p:spPr>
          <a:xfrm>
            <a:off x="-33298" y="2807829"/>
            <a:ext cx="9961139" cy="2207005"/>
          </a:xfrm>
          <a:prstGeom prst="rtTriangle">
            <a:avLst/>
          </a:prstGeom>
          <a:solidFill>
            <a:schemeClr val="tx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err="1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/>
        </p:nvSpPr>
        <p:spPr>
          <a:xfrm flipH="1">
            <a:off x="-33298" y="3090502"/>
            <a:ext cx="12225297" cy="1967670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07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80178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53587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26292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44703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037544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63113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708257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0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C1DB425C-DB45-BB4B-B0CD-404AE0C29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3486" t="24765" r="8277" b="28474"/>
          <a:stretch/>
        </p:blipFill>
        <p:spPr>
          <a:xfrm>
            <a:off x="9108395" y="6021714"/>
            <a:ext cx="2858319" cy="799031"/>
          </a:xfrm>
          <a:prstGeom prst="rect">
            <a:avLst/>
          </a:prstGeom>
        </p:spPr>
      </p:pic>
      <p:pic>
        <p:nvPicPr>
          <p:cNvPr id="13" name="Picture 12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79F5D29D-1068-E442-854A-8034DF64995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510"/>
          <a:stretch/>
        </p:blipFill>
        <p:spPr>
          <a:xfrm>
            <a:off x="-8550" y="-1"/>
            <a:ext cx="12207838" cy="5019882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3537947C-2F19-EF41-BEDA-940C10B9EF35}"/>
              </a:ext>
            </a:extLst>
          </p:cNvPr>
          <p:cNvSpPr/>
          <p:nvPr/>
        </p:nvSpPr>
        <p:spPr>
          <a:xfrm>
            <a:off x="-33298" y="2807829"/>
            <a:ext cx="9961139" cy="2207005"/>
          </a:xfrm>
          <a:prstGeom prst="rtTriangle">
            <a:avLst/>
          </a:prstGeom>
          <a:solidFill>
            <a:schemeClr val="tx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err="1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/>
        </p:nvSpPr>
        <p:spPr>
          <a:xfrm flipH="1">
            <a:off x="-33298" y="3090502"/>
            <a:ext cx="12225297" cy="1967670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985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80178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46283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26292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770183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037544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53770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3FED27-B44F-9366-005A-9972ED4C7C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8C8FC5-2B69-EE2C-C9DE-860CEB3809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7DA9A1-5F18-2300-F630-5678FF2E11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F8A53C-053A-07E3-35C4-7F91EAB11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8D8930-5B19-E74D-1892-ACA238B0C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996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4E276-B2E1-F3C5-7A49-92E008164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CCB176-360C-C43F-89DE-4C1DF1EAC9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6AAE0E-BD05-7209-69F7-F8ECED75A2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63D5C9-2064-34D9-A6C8-243B0AD04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39C541-4CE2-E178-A1C4-7B3A86003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9074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89228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50ED0E-9909-4EC0-5C43-5055D921D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9C100E-9A02-0414-281E-F0410DFE4C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66EFC1-FD44-5C49-FFF1-FEFC74BCAC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A6FF64-2CA7-EFD1-FD17-6895BBB870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4740CE-62CB-1CC1-827B-07620DFAA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3441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0FC70-13B9-297D-F269-D2547AF22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0CB849-3F1D-3C62-C2A9-C04D09274A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370EDB-361C-F828-E951-1281B3142F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F3858B-1F56-BCAB-AE27-89288320A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097A36-7BEB-E55F-B6B6-62CCB085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4BF496-7566-30D8-7EFC-91A6B04E2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6137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5FB5E6-1E7E-ED80-4422-7CAB554FD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1973A4-F91D-16B6-16FA-898B1ED350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EDD9FE-0D4E-98FB-B1D1-5B38FDB9EA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A5C537-2331-762C-66EA-A8A0B25D28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6EC8E2-5D64-EC0E-9E5E-10DDAC9FB4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465A14-F2C1-B0AC-55C3-B822F98BC3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355B74-093A-95C7-D673-897696D1C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5B48866-CA8D-E52D-A492-79EBB43AB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9859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6F688E-A6C1-4363-8F1F-D2970AFF9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5C68B4-F8FB-CF8E-06E2-8C89CD3AE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A6D237-11CB-3D33-E4AA-C3B9B5D91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05273-2E23-CEA4-FCBC-A6D933C8EE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305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1DAAE3-BAC9-4B68-624C-20AEB7F69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3CD3E6-C15C-D5A9-5519-6573FD75E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D07497-6C79-BAAC-77BF-145FE9FB0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4007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E8666-260C-A2AF-1FC4-A1AD2FD89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593E97-E6D3-1EAB-A60C-FFB95D1F87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9C14FC-95C7-32A2-EDB3-115597D012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67687C-5702-0B0A-4BA0-771F30E17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5C5ABB-D987-B82D-2203-DB6FA200F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9FFD87-5A4E-8618-A90B-E203A506D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1460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08621-9D6C-72C0-822C-F759C1638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0A5D3D-357D-7C37-48DE-E6CD6D2F17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0F9731-6A4C-C27F-F2DA-128F4A680A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5968B0-679C-F70C-77EB-A6ADB0913E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F3DD8D-5AA6-E7B6-1D3C-F78A59176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33C2B4-DD1B-3103-23AC-F0403094C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1583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7A26D-1099-E6F1-207A-DC78F0A93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91C97C-30B9-31D5-93F4-CEE0C9064A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E874C3-6929-038D-4EB6-9B16EB3861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750437-53C6-A3DE-AAA3-C945A53DA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C035B7-C67F-0409-D771-E66E1CDC3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1219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3292406-45DD-DFBC-7293-094F5FD0991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16119EC-9762-1054-595D-3392FBFCEA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F7E04C-C035-49AC-FFCF-0A53D6384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FE7DF8-FBE4-1178-DD10-C51A342EF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019532-2126-439C-F82F-11DA667BB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112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B6302D-9E7D-4A18-B4D5-FEDC09C6ED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004B90-AD77-4523-BD66-E0A496DA4CEC}" type="datetime1">
              <a:rPr lang="en-US" smtClean="0"/>
              <a:t>19/0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864A35-6C21-44F4-A34C-594E868008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B1CDA5-BC4E-49FC-9B9F-D8E52394D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FB68-A87E-45F3-B705-AC737CC52B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606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708257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-7289" y="0"/>
            <a:ext cx="12206577" cy="4999181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488407" y="32414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488407" y="467033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23/08/2020 10:12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488407" y="609921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Printed 24/07/2019 19:54 Arabian Standard Time</a:t>
            </a: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88407" y="5070731"/>
            <a:ext cx="8050193" cy="50244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88407" y="5840684"/>
            <a:ext cx="805019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5" name="Document type" hidden="1"/>
          <p:cNvSpPr txBox="1">
            <a:spLocks noChangeArrowheads="1"/>
          </p:cNvSpPr>
          <p:nvPr userDrawn="1"/>
        </p:nvSpPr>
        <p:spPr bwMode="gray">
          <a:xfrm>
            <a:off x="488407" y="6323629"/>
            <a:ext cx="805019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C1DB425C-DB45-BB4B-B0CD-404AE0C29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3486" t="24765" r="8277" b="28474"/>
          <a:stretch/>
        </p:blipFill>
        <p:spPr>
          <a:xfrm>
            <a:off x="9108395" y="6021714"/>
            <a:ext cx="2858319" cy="799031"/>
          </a:xfrm>
          <a:prstGeom prst="rect">
            <a:avLst/>
          </a:prstGeom>
        </p:spPr>
      </p:pic>
      <p:pic>
        <p:nvPicPr>
          <p:cNvPr id="13" name="Picture 12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79F5D29D-1068-E442-854A-8034DF64995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510"/>
          <a:stretch/>
        </p:blipFill>
        <p:spPr>
          <a:xfrm>
            <a:off x="-8550" y="-1"/>
            <a:ext cx="12207838" cy="5019882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3537947C-2F19-EF41-BEDA-940C10B9EF35}"/>
              </a:ext>
            </a:extLst>
          </p:cNvPr>
          <p:cNvSpPr/>
          <p:nvPr/>
        </p:nvSpPr>
        <p:spPr>
          <a:xfrm>
            <a:off x="-33298" y="2807829"/>
            <a:ext cx="9961139" cy="2207005"/>
          </a:xfrm>
          <a:prstGeom prst="rtTriangle">
            <a:avLst/>
          </a:prstGeom>
          <a:solidFill>
            <a:schemeClr val="tx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err="1">
              <a:solidFill>
                <a:schemeClr val="tx1"/>
              </a:solidFill>
            </a:endParaRPr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EB1CBA07-9A3B-3540-A619-D57090D180E5}"/>
              </a:ext>
            </a:extLst>
          </p:cNvPr>
          <p:cNvSpPr/>
          <p:nvPr/>
        </p:nvSpPr>
        <p:spPr>
          <a:xfrm flipH="1">
            <a:off x="-33298" y="3090502"/>
            <a:ext cx="12225297" cy="1967670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837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137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18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80178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88518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26292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3" r="16195" b="5876"/>
          <a:stretch/>
        </p:blipFill>
        <p:spPr bwMode="ltGray">
          <a:xfrm flipH="1">
            <a:off x="3240" y="5293332"/>
            <a:ext cx="12188760" cy="1276354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6648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037544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77214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35.xml"/><Relationship Id="rId7" Type="http://schemas.openxmlformats.org/officeDocument/2006/relationships/theme" Target="../theme/theme2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56.xml"/><Relationship Id="rId7" Type="http://schemas.openxmlformats.org/officeDocument/2006/relationships/theme" Target="../theme/theme3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5" Type="http://schemas.openxmlformats.org/officeDocument/2006/relationships/oleObject" Target="../embeddings/oleObject1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46.xml"/><Relationship Id="rId24" Type="http://schemas.openxmlformats.org/officeDocument/2006/relationships/tags" Target="../tags/tag59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0.xml"/><Relationship Id="rId23" Type="http://schemas.openxmlformats.org/officeDocument/2006/relationships/tags" Target="../tags/tag58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tags" Target="../tags/tag57.xml"/><Relationship Id="rId27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81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4.xml"/><Relationship Id="rId11" Type="http://schemas.openxmlformats.org/officeDocument/2006/relationships/tags" Target="../tags/tag71.xml"/><Relationship Id="rId24" Type="http://schemas.openxmlformats.org/officeDocument/2006/relationships/oleObject" Target="../embeddings/oleObject18.bin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75.xml"/><Relationship Id="rId23" Type="http://schemas.openxmlformats.org/officeDocument/2006/relationships/tags" Target="../tags/tag83.xml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tags" Target="../tags/tag8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04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image" Target="../media/image2.png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image" Target="../media/image1.emf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4" Type="http://schemas.openxmlformats.org/officeDocument/2006/relationships/theme" Target="../theme/theme5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oleObject" Target="../embeddings/oleObject2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123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image" Target="../media/image1.emf"/><Relationship Id="rId5" Type="http://schemas.openxmlformats.org/officeDocument/2006/relationships/theme" Target="../theme/theme6.xml"/><Relationship Id="rId15" Type="http://schemas.openxmlformats.org/officeDocument/2006/relationships/tags" Target="../tags/tag117.xml"/><Relationship Id="rId23" Type="http://schemas.openxmlformats.org/officeDocument/2006/relationships/oleObject" Target="../embeddings/oleObject27.bin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tags" Target="../tags/tag12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tags" Target="../tags/tag136.xml"/><Relationship Id="rId18" Type="http://schemas.openxmlformats.org/officeDocument/2006/relationships/tags" Target="../tags/tag141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144.xml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17" Type="http://schemas.openxmlformats.org/officeDocument/2006/relationships/tags" Target="../tags/tag140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39.xml"/><Relationship Id="rId20" Type="http://schemas.openxmlformats.org/officeDocument/2006/relationships/tags" Target="../tags/tag143.xml"/><Relationship Id="rId1" Type="http://schemas.openxmlformats.org/officeDocument/2006/relationships/slideLayout" Target="../slideLayouts/slideLayout30.x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24" Type="http://schemas.openxmlformats.org/officeDocument/2006/relationships/image" Target="../media/image1.emf"/><Relationship Id="rId5" Type="http://schemas.openxmlformats.org/officeDocument/2006/relationships/theme" Target="../theme/theme7.xml"/><Relationship Id="rId15" Type="http://schemas.openxmlformats.org/officeDocument/2006/relationships/tags" Target="../tags/tag138.xml"/><Relationship Id="rId23" Type="http://schemas.openxmlformats.org/officeDocument/2006/relationships/oleObject" Target="../embeddings/oleObject32.bin"/><Relationship Id="rId10" Type="http://schemas.openxmlformats.org/officeDocument/2006/relationships/tags" Target="../tags/tag133.xml"/><Relationship Id="rId19" Type="http://schemas.openxmlformats.org/officeDocument/2006/relationships/tags" Target="../tags/tag142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132.xml"/><Relationship Id="rId14" Type="http://schemas.openxmlformats.org/officeDocument/2006/relationships/tags" Target="../tags/tag137.xml"/><Relationship Id="rId22" Type="http://schemas.openxmlformats.org/officeDocument/2006/relationships/tags" Target="../tags/tag14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tags" Target="../tags/tag157.xml"/><Relationship Id="rId18" Type="http://schemas.openxmlformats.org/officeDocument/2006/relationships/tags" Target="../tags/tag162.xml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165.xml"/><Relationship Id="rId7" Type="http://schemas.openxmlformats.org/officeDocument/2006/relationships/tags" Target="../tags/tag151.xml"/><Relationship Id="rId12" Type="http://schemas.openxmlformats.org/officeDocument/2006/relationships/tags" Target="../tags/tag156.xml"/><Relationship Id="rId17" Type="http://schemas.openxmlformats.org/officeDocument/2006/relationships/tags" Target="../tags/tag16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160.xml"/><Relationship Id="rId20" Type="http://schemas.openxmlformats.org/officeDocument/2006/relationships/tags" Target="../tags/tag164.xml"/><Relationship Id="rId1" Type="http://schemas.openxmlformats.org/officeDocument/2006/relationships/slideLayout" Target="../slideLayouts/slideLayout34.xml"/><Relationship Id="rId6" Type="http://schemas.openxmlformats.org/officeDocument/2006/relationships/tags" Target="../tags/tag150.xml"/><Relationship Id="rId11" Type="http://schemas.openxmlformats.org/officeDocument/2006/relationships/tags" Target="../tags/tag155.xml"/><Relationship Id="rId24" Type="http://schemas.openxmlformats.org/officeDocument/2006/relationships/image" Target="../media/image1.emf"/><Relationship Id="rId5" Type="http://schemas.openxmlformats.org/officeDocument/2006/relationships/theme" Target="../theme/theme8.xml"/><Relationship Id="rId15" Type="http://schemas.openxmlformats.org/officeDocument/2006/relationships/tags" Target="../tags/tag159.xml"/><Relationship Id="rId23" Type="http://schemas.openxmlformats.org/officeDocument/2006/relationships/oleObject" Target="../embeddings/oleObject37.bin"/><Relationship Id="rId10" Type="http://schemas.openxmlformats.org/officeDocument/2006/relationships/tags" Target="../tags/tag154.xml"/><Relationship Id="rId19" Type="http://schemas.openxmlformats.org/officeDocument/2006/relationships/tags" Target="../tags/tag163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153.xml"/><Relationship Id="rId14" Type="http://schemas.openxmlformats.org/officeDocument/2006/relationships/tags" Target="../tags/tag158.xml"/><Relationship Id="rId22" Type="http://schemas.openxmlformats.org/officeDocument/2006/relationships/tags" Target="../tags/tag16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12/08/2020 04:05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5/07/2020 16:01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6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rgbClr val="FFFFFF"/>
                </a:solidFill>
                <a:latin typeface="Calibri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3705157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755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3808469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7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101921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756" r:id="rId5"/>
    <p:sldLayoutId id="2147483757" r:id="rId6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7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1046088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6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3820584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4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3167093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12/08/2020 04:05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5/07/2020 16:01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CEA3F17-D95D-7105-3F5D-8039552CAD99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413445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77930089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424977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</p:sldLayoutIdLst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77930089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4000" y="1979059"/>
            <a:ext cx="196594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Last Modified 23/08/2020 10:12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25216" y="4197039"/>
            <a:ext cx="174351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4/07/2019 19:54 Arabian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414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96616" y="2715745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96615" y="199507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Rectangle 63"/>
          <p:cNvSpPr/>
          <p:nvPr userDrawn="1"/>
        </p:nvSpPr>
        <p:spPr bwMode="ltGray">
          <a:xfrm>
            <a:off x="1" y="6560370"/>
            <a:ext cx="12192000" cy="297630"/>
          </a:xfrm>
          <a:prstGeom prst="rect">
            <a:avLst/>
          </a:prstGeom>
          <a:solidFill>
            <a:srgbClr val="152A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ltGray">
          <a:xfrm>
            <a:off x="1175662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Slide Elements" hidden="1"/>
          <p:cNvGrpSpPr>
            <a:grpSpLocks/>
          </p:cNvGrpSpPr>
          <p:nvPr userDrawn="1"/>
        </p:nvGrpSpPr>
        <p:grpSpPr bwMode="gray">
          <a:xfrm>
            <a:off x="161987" y="6377534"/>
            <a:ext cx="11725484" cy="389788"/>
            <a:chOff x="119063" y="6250216"/>
            <a:chExt cx="8618537" cy="3820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50216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846" indent="-85846"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6697"/>
              <a:ext cx="769079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24791" indent="-524791" defTabSz="913526">
                <a:tabLst>
                  <a:tab pos="625214" algn="l"/>
                </a:tabLst>
              </a:pPr>
              <a:r>
                <a:rPr lang="en-US" sz="816" baseline="0">
                  <a:solidFill>
                    <a:schemeClr val="bg1"/>
                  </a:solidFill>
                  <a:latin typeface="+mn-lt"/>
                  <a:ea typeface="+mn-ea"/>
                </a:rPr>
                <a:t>SOURCE: </a:t>
              </a:r>
              <a:r>
                <a:rPr lang="x-none" sz="816" baseline="0">
                  <a:solidFill>
                    <a:schemeClr val="bg1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grpSp>
        <p:nvGrpSpPr>
          <p:cNvPr id="67" name="LegendBoxes" hidden="1"/>
          <p:cNvGrpSpPr>
            <a:grpSpLocks/>
          </p:cNvGrpSpPr>
          <p:nvPr userDrawn="1"/>
        </p:nvGrpSpPr>
        <p:grpSpPr bwMode="auto">
          <a:xfrm>
            <a:off x="11108361" y="275438"/>
            <a:ext cx="788828" cy="1022061"/>
            <a:chOff x="4936" y="176"/>
            <a:chExt cx="487" cy="631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7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76" name="LegendLines" hidden="1"/>
          <p:cNvGrpSpPr>
            <a:grpSpLocks/>
          </p:cNvGrpSpPr>
          <p:nvPr userDrawn="1"/>
        </p:nvGrpSpPr>
        <p:grpSpPr bwMode="auto">
          <a:xfrm>
            <a:off x="10794126" y="275438"/>
            <a:ext cx="1103063" cy="749943"/>
            <a:chOff x="4750" y="176"/>
            <a:chExt cx="681" cy="463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83" name="McKSticker" hidden="1"/>
          <p:cNvGrpSpPr/>
          <p:nvPr userDrawn="1"/>
        </p:nvGrpSpPr>
        <p:grpSpPr bwMode="auto">
          <a:xfrm>
            <a:off x="11134642" y="275439"/>
            <a:ext cx="752829" cy="156360"/>
            <a:chOff x="8002944" y="285750"/>
            <a:chExt cx="737831" cy="153247"/>
          </a:xfrm>
        </p:grpSpPr>
        <p:sp>
          <p:nvSpPr>
            <p:cNvPr id="84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5" name="AutoShape 31"/>
            <p:cNvCxnSpPr>
              <a:cxnSpLocks noChangeShapeType="1"/>
              <a:stCxn id="84" idx="2"/>
              <a:endCxn id="84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AutoShape 32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7" name="LegendMoons" hidden="1"/>
          <p:cNvGrpSpPr/>
          <p:nvPr userDrawn="1"/>
        </p:nvGrpSpPr>
        <p:grpSpPr bwMode="auto">
          <a:xfrm>
            <a:off x="11040160" y="275438"/>
            <a:ext cx="857123" cy="1333054"/>
            <a:chOff x="6655594" y="273840"/>
            <a:chExt cx="840048" cy="1306516"/>
          </a:xfrm>
        </p:grpSpPr>
        <p:grpSp>
          <p:nvGrpSpPr>
            <p:cNvPr id="88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7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8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0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91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0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101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9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9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1" name="doc id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2222" name="Picture 606" descr="Image result for al futtaim logo"/>
          <p:cNvPicPr>
            <a:picLocks noChangeAspect="1" noChangeArrowheads="1"/>
          </p:cNvPicPr>
          <p:nvPr userDrawn="1"/>
        </p:nvPicPr>
        <p:blipFill rotWithShape="1">
          <a:blip r:embed="rId2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2375" y="6635214"/>
            <a:ext cx="720428" cy="14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E7A95B7-EC99-F845-832B-F8006D6E268F}"/>
              </a:ext>
            </a:extLst>
          </p:cNvPr>
          <p:cNvSpPr txBox="1"/>
          <p:nvPr userDrawn="1"/>
        </p:nvSpPr>
        <p:spPr>
          <a:xfrm>
            <a:off x="300424" y="6587861"/>
            <a:ext cx="1063459" cy="2223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16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tive Division</a:t>
            </a:r>
          </a:p>
        </p:txBody>
      </p:sp>
    </p:spTree>
    <p:extLst>
      <p:ext uri="{BB962C8B-B14F-4D97-AF65-F5344CB8AC3E}">
        <p14:creationId xmlns:p14="http://schemas.microsoft.com/office/powerpoint/2010/main" val="2227008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</p:sldLayoutIdLst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48A672-A702-9300-EDD3-FE8681E13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CC9C59-8F9C-B752-535A-02968E1849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15332D-27E8-0AF3-036C-6B2AADDB57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627A4-2BED-424D-87B3-4F5FC8C0215B}" type="datetimeFigureOut">
              <a:rPr lang="en-US" smtClean="0"/>
              <a:t>19/0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63AE8D-B466-99D8-DD2C-321CEED8EB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38A8FF-1A02-265D-2644-57ADEFA3B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50FC14-120D-46FA-AFFD-6FA30CF4F4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782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33.png"/><Relationship Id="rId18" Type="http://schemas.openxmlformats.org/officeDocument/2006/relationships/image" Target="../media/image3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svg"/><Relationship Id="rId17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6.svg"/><Relationship Id="rId20" Type="http://schemas.openxmlformats.org/officeDocument/2006/relationships/image" Target="../media/image40.sv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sv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svg"/><Relationship Id="rId19" Type="http://schemas.openxmlformats.org/officeDocument/2006/relationships/image" Target="../media/image39.png"/><Relationship Id="rId4" Type="http://schemas.openxmlformats.org/officeDocument/2006/relationships/image" Target="../media/image24.svg"/><Relationship Id="rId9" Type="http://schemas.openxmlformats.org/officeDocument/2006/relationships/image" Target="../media/image29.png"/><Relationship Id="rId14" Type="http://schemas.openxmlformats.org/officeDocument/2006/relationships/image" Target="../media/image34.sv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41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microsoft.com/office/2007/relationships/hdphoto" Target="../media/hdphoto2.wdp"/><Relationship Id="rId5" Type="http://schemas.openxmlformats.org/officeDocument/2006/relationships/image" Target="../media/image42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50.png"/><Relationship Id="rId7" Type="http://schemas.openxmlformats.org/officeDocument/2006/relationships/image" Target="../media/image44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microsoft.com/office/2007/relationships/hdphoto" Target="../media/hdphoto4.wdp"/><Relationship Id="rId9" Type="http://schemas.openxmlformats.org/officeDocument/2006/relationships/image" Target="../media/image5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5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4" Type="http://schemas.openxmlformats.org/officeDocument/2006/relationships/image" Target="../media/image5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82CFBFB-67E1-4FC6-9035-4E9A0E016F2D}"/>
              </a:ext>
            </a:extLst>
          </p:cNvPr>
          <p:cNvSpPr/>
          <p:nvPr/>
        </p:nvSpPr>
        <p:spPr>
          <a:xfrm>
            <a:off x="0" y="0"/>
            <a:ext cx="12191578" cy="6858000"/>
          </a:xfrm>
          <a:prstGeom prst="rect">
            <a:avLst/>
          </a:prstGeom>
          <a:solidFill>
            <a:srgbClr val="01509F">
              <a:alpha val="83922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3" name="Picture 22" descr="A picture containing text&#10;&#10;Description automatically generated">
            <a:extLst>
              <a:ext uri="{FF2B5EF4-FFF2-40B4-BE49-F238E27FC236}">
                <a16:creationId xmlns:a16="http://schemas.microsoft.com/office/drawing/2014/main" id="{C02B158C-512C-40A1-A0B6-12941495525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17" r="4965" b="40176"/>
          <a:stretch/>
        </p:blipFill>
        <p:spPr>
          <a:xfrm>
            <a:off x="8350472" y="5448300"/>
            <a:ext cx="3263601" cy="1092875"/>
          </a:xfrm>
          <a:prstGeom prst="rect">
            <a:avLst/>
          </a:prstGeom>
        </p:spPr>
      </p:pic>
      <p:pic>
        <p:nvPicPr>
          <p:cNvPr id="3" name="Picture 2" descr="Rows of seated people in business attire, listening to work event">
            <a:extLst>
              <a:ext uri="{FF2B5EF4-FFF2-40B4-BE49-F238E27FC236}">
                <a16:creationId xmlns:a16="http://schemas.microsoft.com/office/drawing/2014/main" id="{8F45F8D1-2EC2-BB65-2542-C3E426610DE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6"/>
          <a:stretch/>
        </p:blipFill>
        <p:spPr>
          <a:xfrm>
            <a:off x="6334390" y="0"/>
            <a:ext cx="5857188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EFCBFBA-3659-A24B-A9EC-EA487D445831}"/>
              </a:ext>
            </a:extLst>
          </p:cNvPr>
          <p:cNvSpPr txBox="1"/>
          <p:nvPr/>
        </p:nvSpPr>
        <p:spPr>
          <a:xfrm>
            <a:off x="194718" y="2767280"/>
            <a:ext cx="597748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adership Competencies 101 </a:t>
            </a:r>
            <a:r>
              <a:rPr lang="en-US" sz="4000" dirty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4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raft Roll-Out Pla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EDE87B-FBD7-9694-62B1-AA1B7E6418D6}"/>
              </a:ext>
            </a:extLst>
          </p:cNvPr>
          <p:cNvSpPr txBox="1"/>
          <p:nvPr/>
        </p:nvSpPr>
        <p:spPr>
          <a:xfrm>
            <a:off x="224536" y="2458709"/>
            <a:ext cx="610985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62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+mj-cs"/>
              </a:rPr>
              <a:t>Automotive Leadership Development Initiative</a:t>
            </a:r>
            <a:endParaRPr kumimoji="0" lang="en-US" sz="1400" b="1" i="1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BB39372-D9B2-EB27-EFCD-852DFAF85A23}"/>
              </a:ext>
            </a:extLst>
          </p:cNvPr>
          <p:cNvSpPr txBox="1"/>
          <p:nvPr/>
        </p:nvSpPr>
        <p:spPr>
          <a:xfrm>
            <a:off x="57425" y="6247737"/>
            <a:ext cx="29594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Awareness I Knowledge I Cascade</a:t>
            </a:r>
          </a:p>
        </p:txBody>
      </p:sp>
    </p:spTree>
    <p:extLst>
      <p:ext uri="{BB962C8B-B14F-4D97-AF65-F5344CB8AC3E}">
        <p14:creationId xmlns:p14="http://schemas.microsoft.com/office/powerpoint/2010/main" val="32248777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7134F4E8-25B3-4FC5-8B05-2275BF3117E2}"/>
              </a:ext>
            </a:extLst>
          </p:cNvPr>
          <p:cNvSpPr/>
          <p:nvPr/>
        </p:nvSpPr>
        <p:spPr>
          <a:xfrm>
            <a:off x="608418" y="1099752"/>
            <a:ext cx="10966335" cy="5271355"/>
          </a:xfrm>
          <a:prstGeom prst="roundRect">
            <a:avLst>
              <a:gd name="adj" fmla="val 8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B110421D-E821-43EA-B6A2-EA94A8A94E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3436263"/>
              </p:ext>
            </p:extLst>
          </p:nvPr>
        </p:nvGraphicFramePr>
        <p:xfrm>
          <a:off x="79512" y="506970"/>
          <a:ext cx="12060996" cy="59666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6805">
                  <a:extLst>
                    <a:ext uri="{9D8B030D-6E8A-4147-A177-3AD203B41FA5}">
                      <a16:colId xmlns:a16="http://schemas.microsoft.com/office/drawing/2014/main" val="3023395095"/>
                    </a:ext>
                  </a:extLst>
                </a:gridCol>
                <a:gridCol w="1775589">
                  <a:extLst>
                    <a:ext uri="{9D8B030D-6E8A-4147-A177-3AD203B41FA5}">
                      <a16:colId xmlns:a16="http://schemas.microsoft.com/office/drawing/2014/main" val="3628967316"/>
                    </a:ext>
                  </a:extLst>
                </a:gridCol>
                <a:gridCol w="1107694">
                  <a:extLst>
                    <a:ext uri="{9D8B030D-6E8A-4147-A177-3AD203B41FA5}">
                      <a16:colId xmlns:a16="http://schemas.microsoft.com/office/drawing/2014/main" val="2574941136"/>
                    </a:ext>
                  </a:extLst>
                </a:gridCol>
                <a:gridCol w="1312164">
                  <a:extLst>
                    <a:ext uri="{9D8B030D-6E8A-4147-A177-3AD203B41FA5}">
                      <a16:colId xmlns:a16="http://schemas.microsoft.com/office/drawing/2014/main" val="3863200767"/>
                    </a:ext>
                  </a:extLst>
                </a:gridCol>
                <a:gridCol w="2009878">
                  <a:extLst>
                    <a:ext uri="{9D8B030D-6E8A-4147-A177-3AD203B41FA5}">
                      <a16:colId xmlns:a16="http://schemas.microsoft.com/office/drawing/2014/main" val="2375351717"/>
                    </a:ext>
                  </a:extLst>
                </a:gridCol>
                <a:gridCol w="757555">
                  <a:extLst>
                    <a:ext uri="{9D8B030D-6E8A-4147-A177-3AD203B41FA5}">
                      <a16:colId xmlns:a16="http://schemas.microsoft.com/office/drawing/2014/main" val="174125001"/>
                    </a:ext>
                  </a:extLst>
                </a:gridCol>
                <a:gridCol w="1054418">
                  <a:extLst>
                    <a:ext uri="{9D8B030D-6E8A-4147-A177-3AD203B41FA5}">
                      <a16:colId xmlns:a16="http://schemas.microsoft.com/office/drawing/2014/main" val="2713606338"/>
                    </a:ext>
                  </a:extLst>
                </a:gridCol>
                <a:gridCol w="1319244">
                  <a:extLst>
                    <a:ext uri="{9D8B030D-6E8A-4147-A177-3AD203B41FA5}">
                      <a16:colId xmlns:a16="http://schemas.microsoft.com/office/drawing/2014/main" val="2430110358"/>
                    </a:ext>
                  </a:extLst>
                </a:gridCol>
                <a:gridCol w="1617649">
                  <a:extLst>
                    <a:ext uri="{9D8B030D-6E8A-4147-A177-3AD203B41FA5}">
                      <a16:colId xmlns:a16="http://schemas.microsoft.com/office/drawing/2014/main" val="3425908944"/>
                    </a:ext>
                  </a:extLst>
                </a:gridCol>
              </a:tblGrid>
              <a:tr h="323120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</a:rPr>
                        <a:t>Phase 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</a:rPr>
                        <a:t>W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</a:rPr>
                        <a:t>Frequenc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</a:rPr>
                        <a:t>Wh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</a:rPr>
                        <a:t>Wh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</a:rPr>
                        <a:t>Ho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</a:rPr>
                        <a:t>By Wh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</a:rPr>
                        <a:t>To Wh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</a:rPr>
                        <a:t>Suppo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138705"/>
                  </a:ext>
                </a:extLst>
              </a:tr>
              <a:tr h="499367"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Pre-Launch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Remind post Leadership Day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On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March 12/13th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ail Templat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ai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Amr/Maha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ec Board Session Attendees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IN" sz="14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5832229"/>
                  </a:ext>
                </a:extLst>
              </a:tr>
              <a:tr h="499367"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Pilot Launch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Post Exec Session Delivery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On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March 19</a:t>
                      </a:r>
                      <a:r>
                        <a:rPr lang="en-IN" sz="1400" baseline="30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th</a:t>
                      </a:r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sident Comm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ai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Paul Willi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ands I-K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Script to be provide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71359"/>
                  </a:ext>
                </a:extLst>
              </a:tr>
              <a:tr h="910610"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Launch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Announ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On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March 22</a:t>
                      </a:r>
                      <a:r>
                        <a:rPr lang="en-IN" sz="1400" baseline="30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nd</a:t>
                      </a:r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 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llow</a:t>
                      </a: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up communication mail </a:t>
                      </a: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fter Presidents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ai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MD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rget Audience per Business 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Standard template customized per business 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6952179"/>
                  </a:ext>
                </a:extLst>
              </a:tr>
              <a:tr h="910610"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Roll-Ou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Announce Country</a:t>
                      </a:r>
                    </a:p>
                    <a:p>
                      <a:pPr lvl="0" algn="l">
                        <a:buNone/>
                      </a:pPr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Session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On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</a:endParaRP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TBC</a:t>
                      </a:r>
                    </a:p>
                    <a:p>
                      <a:pPr algn="l"/>
                      <a:endParaRPr lang="en-IN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untry </a:t>
                      </a: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vel Comms by MDs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ai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Country </a:t>
                      </a:r>
                      <a:endParaRPr lang="en-US" dirty="0"/>
                    </a:p>
                    <a:p>
                      <a:pPr lvl="0" algn="l">
                        <a:buNone/>
                      </a:pPr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MD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untry Bands H-K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A standard template customized for each country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040357"/>
                  </a:ext>
                </a:extLst>
              </a:tr>
              <a:tr h="910610"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Roll-Ou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Build Momentum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Ongoing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TBC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deo collage of </a:t>
                      </a: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lect Execs/MDs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HR Comm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o Bands H-K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Script &amp; Shooting in collab with Int. Comm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9019513"/>
                  </a:ext>
                </a:extLst>
              </a:tr>
              <a:tr h="910610"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Roll-Ou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Build Momentum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Once/Twi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TBC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timonials</a:t>
                      </a: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f </a:t>
                      </a: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rticipants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ails/</a:t>
                      </a: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AATC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o Bands H-K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95000"/>
                            <a:lumOff val="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Script &amp; Shooting in collab with Int. Comm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7607053"/>
                  </a:ext>
                </a:extLst>
              </a:tr>
              <a:tr h="704988"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Roll-Out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Remin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Ongoing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TBC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minder mail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ai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AATC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o Bands 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I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-K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4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</a:rPr>
                        <a:t>Standard reminder templat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9459978"/>
                  </a:ext>
                </a:extLst>
              </a:tr>
            </a:tbl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C604128D-6062-0524-B5BF-891A4F4C2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871" y="33662"/>
            <a:ext cx="10969943" cy="365760"/>
          </a:xfrm>
        </p:spPr>
        <p:txBody>
          <a:bodyPr>
            <a:normAutofit fontScale="90000"/>
          </a:bodyPr>
          <a:lstStyle/>
          <a:p>
            <a:r>
              <a:rPr lang="en-IN" sz="2800" b="1" dirty="0"/>
              <a:t>LC 101 Communication Plan | Automotive Division</a:t>
            </a:r>
            <a:r>
              <a:rPr lang="en-IN" sz="2800" b="1" dirty="0">
                <a:solidFill>
                  <a:srgbClr val="FF0000"/>
                </a:solidFill>
              </a:rPr>
              <a:t> (Draft)</a:t>
            </a:r>
          </a:p>
        </p:txBody>
      </p:sp>
    </p:spTree>
    <p:extLst>
      <p:ext uri="{BB962C8B-B14F-4D97-AF65-F5344CB8AC3E}">
        <p14:creationId xmlns:p14="http://schemas.microsoft.com/office/powerpoint/2010/main" val="26719253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12BBF4-048F-5561-F078-9409336844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7FB68-A87E-45F3-B705-AC737CC52B52}" type="slidenum">
              <a:rPr lang="en-US" smtClean="0"/>
              <a:t>11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40C2A0-D5ED-A009-7CCC-F79CF71C2652}"/>
              </a:ext>
            </a:extLst>
          </p:cNvPr>
          <p:cNvSpPr/>
          <p:nvPr/>
        </p:nvSpPr>
        <p:spPr>
          <a:xfrm>
            <a:off x="0" y="0"/>
            <a:ext cx="12192000" cy="653796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8560C9-337F-543E-EFA0-3569C44CD85B}"/>
              </a:ext>
            </a:extLst>
          </p:cNvPr>
          <p:cNvSpPr txBox="1"/>
          <p:nvPr/>
        </p:nvSpPr>
        <p:spPr>
          <a:xfrm>
            <a:off x="1965960" y="2801862"/>
            <a:ext cx="74797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>
                <a:solidFill>
                  <a:schemeClr val="bg1"/>
                </a:solidFill>
              </a:rPr>
              <a:t>Thank You!</a:t>
            </a:r>
            <a:endParaRPr 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8399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Picture 2">
            <a:extLst>
              <a:ext uri="{FF2B5EF4-FFF2-40B4-BE49-F238E27FC236}">
                <a16:creationId xmlns:a16="http://schemas.microsoft.com/office/drawing/2014/main" id="{E944C8C4-4356-428E-A938-AE7D29808AF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37" b="37"/>
          <a:stretch>
            <a:fillRect/>
          </a:stretch>
        </p:blipFill>
        <p:spPr>
          <a:xfrm>
            <a:off x="-10" y="-11788"/>
            <a:ext cx="12192000" cy="6858000"/>
          </a:xfrm>
          <a:prstGeom prst="rect">
            <a:avLst/>
          </a:prstGeom>
        </p:spPr>
      </p:pic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D64BB8DD-DEF1-4A66-AA37-CF0F337C2B54}"/>
              </a:ext>
            </a:extLst>
          </p:cNvPr>
          <p:cNvCxnSpPr>
            <a:cxnSpLocks/>
          </p:cNvCxnSpPr>
          <p:nvPr/>
        </p:nvCxnSpPr>
        <p:spPr>
          <a:xfrm flipV="1">
            <a:off x="7443893" y="3038164"/>
            <a:ext cx="424966" cy="4563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95">
            <a:extLst>
              <a:ext uri="{FF2B5EF4-FFF2-40B4-BE49-F238E27FC236}">
                <a16:creationId xmlns:a16="http://schemas.microsoft.com/office/drawing/2014/main" id="{B2B97B28-4D01-40B3-8BD5-910502A5B936}"/>
              </a:ext>
            </a:extLst>
          </p:cNvPr>
          <p:cNvGrpSpPr/>
          <p:nvPr/>
        </p:nvGrpSpPr>
        <p:grpSpPr>
          <a:xfrm>
            <a:off x="4263740" y="2020527"/>
            <a:ext cx="3452510" cy="3447650"/>
            <a:chOff x="2150589" y="2149262"/>
            <a:chExt cx="3452510" cy="3447650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07937C02-B51A-45FE-87A0-CC66AB9C0CF2}"/>
                </a:ext>
              </a:extLst>
            </p:cNvPr>
            <p:cNvGrpSpPr/>
            <p:nvPr/>
          </p:nvGrpSpPr>
          <p:grpSpPr>
            <a:xfrm>
              <a:off x="2945713" y="2942706"/>
              <a:ext cx="1866545" cy="1866545"/>
              <a:chOff x="4851632" y="2184636"/>
              <a:chExt cx="2488727" cy="2488727"/>
            </a:xfrm>
            <a:effectLst/>
          </p:grpSpPr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9683918F-89CB-43E5-A7EE-6E78E573FEE0}"/>
                  </a:ext>
                </a:extLst>
              </p:cNvPr>
              <p:cNvSpPr/>
              <p:nvPr/>
            </p:nvSpPr>
            <p:spPr>
              <a:xfrm>
                <a:off x="5287790" y="2620794"/>
                <a:ext cx="1616412" cy="1616412"/>
              </a:xfrm>
              <a:prstGeom prst="ellipse">
                <a:avLst/>
              </a:prstGeom>
              <a:noFill/>
              <a:ln w="76200">
                <a:solidFill>
                  <a:srgbClr val="2B4A99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50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pic>
            <p:nvPicPr>
              <p:cNvPr id="130" name="Picture 129">
                <a:extLst>
                  <a:ext uri="{FF2B5EF4-FFF2-40B4-BE49-F238E27FC236}">
                    <a16:creationId xmlns:a16="http://schemas.microsoft.com/office/drawing/2014/main" id="{5BAA5BAC-E982-40A7-AA6D-BF7D152CD9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57805" y="2962725"/>
                <a:ext cx="909866" cy="885603"/>
              </a:xfrm>
              <a:prstGeom prst="rect">
                <a:avLst/>
              </a:prstGeom>
            </p:spPr>
          </p:pic>
          <p:sp>
            <p:nvSpPr>
              <p:cNvPr id="131" name="Circle: Hollow 130">
                <a:extLst>
                  <a:ext uri="{FF2B5EF4-FFF2-40B4-BE49-F238E27FC236}">
                    <a16:creationId xmlns:a16="http://schemas.microsoft.com/office/drawing/2014/main" id="{5069BF54-8AA4-478A-844B-B79E9DCBE760}"/>
                  </a:ext>
                </a:extLst>
              </p:cNvPr>
              <p:cNvSpPr/>
              <p:nvPr/>
            </p:nvSpPr>
            <p:spPr>
              <a:xfrm>
                <a:off x="4851632" y="2184636"/>
                <a:ext cx="2488727" cy="2488727"/>
              </a:xfrm>
              <a:prstGeom prst="donut">
                <a:avLst>
                  <a:gd name="adj" fmla="val 13292"/>
                </a:avLst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50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98" name="Block Arc 97">
              <a:extLst>
                <a:ext uri="{FF2B5EF4-FFF2-40B4-BE49-F238E27FC236}">
                  <a16:creationId xmlns:a16="http://schemas.microsoft.com/office/drawing/2014/main" id="{CC0C3FA7-FDF7-4C7E-AC3E-2D6E25BF0D83}"/>
                </a:ext>
              </a:extLst>
            </p:cNvPr>
            <p:cNvSpPr/>
            <p:nvPr/>
          </p:nvSpPr>
          <p:spPr>
            <a:xfrm rot="12776278">
              <a:off x="2150590" y="2151019"/>
              <a:ext cx="3439949" cy="3439949"/>
            </a:xfrm>
            <a:prstGeom prst="blockArc">
              <a:avLst>
                <a:gd name="adj1" fmla="val 19678662"/>
                <a:gd name="adj2" fmla="val 479576"/>
                <a:gd name="adj3" fmla="val 20656"/>
              </a:avLst>
            </a:prstGeom>
            <a:solidFill>
              <a:srgbClr val="007FB8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50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9" name="Block Arc 98">
              <a:extLst>
                <a:ext uri="{FF2B5EF4-FFF2-40B4-BE49-F238E27FC236}">
                  <a16:creationId xmlns:a16="http://schemas.microsoft.com/office/drawing/2014/main" id="{037FABE8-D66C-4A6C-9FC2-747325A6AC56}"/>
                </a:ext>
              </a:extLst>
            </p:cNvPr>
            <p:cNvSpPr/>
            <p:nvPr/>
          </p:nvSpPr>
          <p:spPr>
            <a:xfrm rot="5635935">
              <a:off x="2162235" y="2161661"/>
              <a:ext cx="3418148" cy="3439949"/>
            </a:xfrm>
            <a:prstGeom prst="blockArc">
              <a:avLst>
                <a:gd name="adj1" fmla="val 18611423"/>
                <a:gd name="adj2" fmla="val 21263739"/>
                <a:gd name="adj3" fmla="val 20916"/>
              </a:avLst>
            </a:prstGeom>
            <a:solidFill>
              <a:srgbClr val="7BC1F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50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4740BF7C-6531-4814-A82E-E4864F5BA512}"/>
                </a:ext>
              </a:extLst>
            </p:cNvPr>
            <p:cNvSpPr txBox="1"/>
            <p:nvPr/>
          </p:nvSpPr>
          <p:spPr>
            <a:xfrm>
              <a:off x="4661559" y="4221172"/>
              <a:ext cx="90105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Managing Complexity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46AFAF6C-12A6-4BB4-81A9-45BEC7660CAF}"/>
                </a:ext>
              </a:extLst>
            </p:cNvPr>
            <p:cNvSpPr txBox="1"/>
            <p:nvPr/>
          </p:nvSpPr>
          <p:spPr>
            <a:xfrm>
              <a:off x="2905860" y="2448687"/>
              <a:ext cx="772588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cs typeface="Calibri" panose="020F0502020204030204" pitchFamily="34" charset="0"/>
                </a:rPr>
                <a:t>Customer centricity</a:t>
              </a:r>
              <a:endParaRPr lang="en-US" sz="1100">
                <a:solidFill>
                  <a:prstClr val="white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EA2689C-B260-4682-9B4B-7728C2F0C7D2}"/>
                </a:ext>
              </a:extLst>
            </p:cNvPr>
            <p:cNvSpPr txBox="1"/>
            <p:nvPr/>
          </p:nvSpPr>
          <p:spPr>
            <a:xfrm>
              <a:off x="2161986" y="3218335"/>
              <a:ext cx="83388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Goal Driven</a:t>
              </a:r>
              <a:endParaRPr lang="en-US" sz="110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062EA245-B574-44D7-88EC-F870FF140EE0}"/>
                </a:ext>
              </a:extLst>
            </p:cNvPr>
            <p:cNvSpPr txBox="1"/>
            <p:nvPr/>
          </p:nvSpPr>
          <p:spPr>
            <a:xfrm>
              <a:off x="2707472" y="4870803"/>
              <a:ext cx="80528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85800">
                <a:defRPr/>
              </a:pPr>
              <a:r>
                <a:rPr lang="en-US" sz="105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veloping talents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1D0BC188-BDF0-41C6-8772-B8D42A1E9F21}"/>
                </a:ext>
              </a:extLst>
            </p:cNvPr>
            <p:cNvSpPr txBox="1"/>
            <p:nvPr/>
          </p:nvSpPr>
          <p:spPr>
            <a:xfrm>
              <a:off x="3889920" y="4907578"/>
              <a:ext cx="1049481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cs typeface="Calibri" panose="020F0502020204030204" pitchFamily="34" charset="0"/>
                </a:rPr>
                <a:t>Engaging Leadership</a:t>
              </a:r>
              <a:endParaRPr lang="en-US" sz="1100">
                <a:solidFill>
                  <a:prstClr val="white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4" name="Block Arc 113">
              <a:extLst>
                <a:ext uri="{FF2B5EF4-FFF2-40B4-BE49-F238E27FC236}">
                  <a16:creationId xmlns:a16="http://schemas.microsoft.com/office/drawing/2014/main" id="{D36078C3-6F40-4FB3-91C2-A5A3DE08D61D}"/>
                </a:ext>
              </a:extLst>
            </p:cNvPr>
            <p:cNvSpPr/>
            <p:nvPr/>
          </p:nvSpPr>
          <p:spPr>
            <a:xfrm rot="14982772">
              <a:off x="2163150" y="2156963"/>
              <a:ext cx="3439949" cy="3439949"/>
            </a:xfrm>
            <a:prstGeom prst="blockArc">
              <a:avLst>
                <a:gd name="adj1" fmla="val 1280164"/>
                <a:gd name="adj2" fmla="val 3913451"/>
                <a:gd name="adj3" fmla="val 20660"/>
              </a:avLst>
            </a:prstGeom>
            <a:solidFill>
              <a:srgbClr val="01509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50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8209D299-AABC-4E16-BCF0-5405586EB620}"/>
                </a:ext>
              </a:extLst>
            </p:cNvPr>
            <p:cNvSpPr txBox="1"/>
            <p:nvPr/>
          </p:nvSpPr>
          <p:spPr>
            <a:xfrm>
              <a:off x="3777216" y="2410288"/>
              <a:ext cx="121827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cs typeface="Calibri" panose="020F0502020204030204" pitchFamily="34" charset="0"/>
                </a:rPr>
                <a:t>Customer Centricity</a:t>
              </a:r>
              <a:endParaRPr lang="en-US" sz="1100">
                <a:solidFill>
                  <a:prstClr val="white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6" name="Block Arc 115">
              <a:extLst>
                <a:ext uri="{FF2B5EF4-FFF2-40B4-BE49-F238E27FC236}">
                  <a16:creationId xmlns:a16="http://schemas.microsoft.com/office/drawing/2014/main" id="{D3D11931-63D2-4524-BC51-9A26F186396A}"/>
                </a:ext>
              </a:extLst>
            </p:cNvPr>
            <p:cNvSpPr/>
            <p:nvPr/>
          </p:nvSpPr>
          <p:spPr>
            <a:xfrm rot="9066691">
              <a:off x="2152010" y="2149262"/>
              <a:ext cx="3439949" cy="3439949"/>
            </a:xfrm>
            <a:prstGeom prst="blockArc">
              <a:avLst>
                <a:gd name="adj1" fmla="val 18022323"/>
                <a:gd name="adj2" fmla="val 20526550"/>
                <a:gd name="adj3" fmla="val 20712"/>
              </a:avLst>
            </a:prstGeom>
            <a:solidFill>
              <a:srgbClr val="7BC1F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defTabSz="685800">
                <a:defRPr/>
              </a:pPr>
              <a:endParaRPr lang="en-US" sz="150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0D0780BE-BA88-4C05-BB32-2309CBDD0E6D}"/>
                </a:ext>
              </a:extLst>
            </p:cNvPr>
            <p:cNvSpPr txBox="1"/>
            <p:nvPr/>
          </p:nvSpPr>
          <p:spPr>
            <a:xfrm>
              <a:off x="2202487" y="4165341"/>
              <a:ext cx="83388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cs typeface="Calibri" panose="020F0502020204030204" pitchFamily="34" charset="0"/>
                </a:rPr>
                <a:t>Change Agile</a:t>
              </a:r>
              <a:endParaRPr lang="en-US" sz="1100">
                <a:solidFill>
                  <a:prstClr val="white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21992E17-9323-4034-A899-50398DF7B32F}"/>
                </a:ext>
              </a:extLst>
            </p:cNvPr>
            <p:cNvSpPr/>
            <p:nvPr/>
          </p:nvSpPr>
          <p:spPr>
            <a:xfrm>
              <a:off x="2817566" y="4873743"/>
              <a:ext cx="108085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cs typeface="Calibri" panose="020F0502020204030204" pitchFamily="34" charset="0"/>
                </a:rPr>
                <a:t>Influence </a:t>
              </a:r>
            </a:p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cs typeface="Calibri" panose="020F0502020204030204" pitchFamily="34" charset="0"/>
                </a:rPr>
                <a:t>&amp; Challenge</a:t>
              </a:r>
              <a:endParaRPr lang="en-US" sz="1100">
                <a:solidFill>
                  <a:prstClr val="white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9" name="Block Arc 118">
              <a:extLst>
                <a:ext uri="{FF2B5EF4-FFF2-40B4-BE49-F238E27FC236}">
                  <a16:creationId xmlns:a16="http://schemas.microsoft.com/office/drawing/2014/main" id="{0DD95B26-AD22-4CE7-9CB2-61DDA5941877}"/>
                </a:ext>
              </a:extLst>
            </p:cNvPr>
            <p:cNvSpPr/>
            <p:nvPr/>
          </p:nvSpPr>
          <p:spPr>
            <a:xfrm rot="14982772">
              <a:off x="2150597" y="2151019"/>
              <a:ext cx="3439949" cy="3439949"/>
            </a:xfrm>
            <a:prstGeom prst="blockArc">
              <a:avLst>
                <a:gd name="adj1" fmla="val 20050826"/>
                <a:gd name="adj2" fmla="val 1122482"/>
                <a:gd name="adj3" fmla="val 20941"/>
              </a:avLst>
            </a:prstGeom>
            <a:solidFill>
              <a:srgbClr val="007FB8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50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3878D29B-D306-49C2-A85A-E63576D2AAD0}"/>
                </a:ext>
              </a:extLst>
            </p:cNvPr>
            <p:cNvSpPr txBox="1"/>
            <p:nvPr/>
          </p:nvSpPr>
          <p:spPr>
            <a:xfrm>
              <a:off x="2855703" y="2440286"/>
              <a:ext cx="89063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cs typeface="Calibri" panose="020F0502020204030204" pitchFamily="34" charset="0"/>
                </a:rPr>
                <a:t>Commercial </a:t>
              </a:r>
            </a:p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cs typeface="Calibri" panose="020F0502020204030204" pitchFamily="34" charset="0"/>
                </a:rPr>
                <a:t>Drive</a:t>
              </a:r>
            </a:p>
          </p:txBody>
        </p:sp>
        <p:sp>
          <p:nvSpPr>
            <p:cNvPr id="121" name="Block Arc 120">
              <a:extLst>
                <a:ext uri="{FF2B5EF4-FFF2-40B4-BE49-F238E27FC236}">
                  <a16:creationId xmlns:a16="http://schemas.microsoft.com/office/drawing/2014/main" id="{584B831E-2ACA-4C8C-84C8-C5555AE9E104}"/>
                </a:ext>
              </a:extLst>
            </p:cNvPr>
            <p:cNvSpPr/>
            <p:nvPr/>
          </p:nvSpPr>
          <p:spPr>
            <a:xfrm rot="9066691">
              <a:off x="2150589" y="2151018"/>
              <a:ext cx="3439949" cy="3439949"/>
            </a:xfrm>
            <a:prstGeom prst="blockArc">
              <a:avLst>
                <a:gd name="adj1" fmla="val 20722041"/>
                <a:gd name="adj2" fmla="val 1624464"/>
                <a:gd name="adj3" fmla="val 20809"/>
              </a:avLst>
            </a:prstGeom>
            <a:solidFill>
              <a:srgbClr val="007FB8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defTabSz="685800">
                <a:defRPr/>
              </a:pPr>
              <a:endParaRPr lang="en-US" sz="150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2B63598A-0AFB-4961-96B3-606478C2FFA4}"/>
                </a:ext>
              </a:extLst>
            </p:cNvPr>
            <p:cNvSpPr txBox="1"/>
            <p:nvPr/>
          </p:nvSpPr>
          <p:spPr>
            <a:xfrm>
              <a:off x="2216497" y="4186109"/>
              <a:ext cx="84699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070" b="1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Managing Complexity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C8D129E6-5737-424B-8ED1-9397D0D7312C}"/>
                </a:ext>
              </a:extLst>
            </p:cNvPr>
            <p:cNvSpPr/>
            <p:nvPr/>
          </p:nvSpPr>
          <p:spPr>
            <a:xfrm rot="21309999">
              <a:off x="3321868" y="3088089"/>
              <a:ext cx="990886" cy="416854"/>
            </a:xfrm>
            <a:prstGeom prst="rect">
              <a:avLst/>
            </a:prstGeom>
          </p:spPr>
          <p:txBody>
            <a:bodyPr wrap="square">
              <a:prstTxWarp prst="textArchUp">
                <a:avLst>
                  <a:gd name="adj" fmla="val 11057518"/>
                </a:avLst>
              </a:prstTxWarp>
              <a:spAutoFit/>
            </a:bodyPr>
            <a:lstStyle/>
            <a:p>
              <a:pPr algn="ctr" defTabSz="685800">
                <a:defRPr/>
              </a:pPr>
              <a:r>
                <a:rPr lang="en-US" sz="21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e value Respect 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481DE444-C5C8-45F5-8439-708BA4E9130E}"/>
                </a:ext>
              </a:extLst>
            </p:cNvPr>
            <p:cNvSpPr/>
            <p:nvPr/>
          </p:nvSpPr>
          <p:spPr>
            <a:xfrm rot="5400000">
              <a:off x="3783267" y="3593382"/>
              <a:ext cx="1166729" cy="535080"/>
            </a:xfrm>
            <a:prstGeom prst="rect">
              <a:avLst/>
            </a:prstGeom>
          </p:spPr>
          <p:txBody>
            <a:bodyPr wrap="square">
              <a:prstTxWarp prst="textArchUp">
                <a:avLst>
                  <a:gd name="adj" fmla="val 11323613"/>
                </a:avLst>
              </a:prstTxWarp>
              <a:spAutoFit/>
            </a:bodyPr>
            <a:lstStyle/>
            <a:p>
              <a:pPr algn="ctr" defTabSz="685800">
                <a:defRPr/>
              </a:pPr>
              <a:r>
                <a:rPr lang="en-US" sz="21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e value Collaboration </a:t>
              </a:r>
            </a:p>
          </p:txBody>
        </p:sp>
        <p:sp>
          <p:nvSpPr>
            <p:cNvPr id="123" name="Block Arc 122">
              <a:extLst>
                <a:ext uri="{FF2B5EF4-FFF2-40B4-BE49-F238E27FC236}">
                  <a16:creationId xmlns:a16="http://schemas.microsoft.com/office/drawing/2014/main" id="{B2F9C3E2-E9CD-4054-A566-9075227749C0}"/>
                </a:ext>
              </a:extLst>
            </p:cNvPr>
            <p:cNvSpPr/>
            <p:nvPr/>
          </p:nvSpPr>
          <p:spPr>
            <a:xfrm rot="1734070">
              <a:off x="2150739" y="2156005"/>
              <a:ext cx="3439949" cy="3439949"/>
            </a:xfrm>
            <a:prstGeom prst="blockArc">
              <a:avLst>
                <a:gd name="adj1" fmla="val 19874700"/>
                <a:gd name="adj2" fmla="val 765153"/>
                <a:gd name="adj3" fmla="val 20732"/>
              </a:avLst>
            </a:prstGeom>
            <a:solidFill>
              <a:srgbClr val="01509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50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EDE1FE7F-3790-4239-AD86-BCF92F1F352D}"/>
                </a:ext>
              </a:extLst>
            </p:cNvPr>
            <p:cNvSpPr/>
            <p:nvPr/>
          </p:nvSpPr>
          <p:spPr>
            <a:xfrm rot="4875791">
              <a:off x="2781441" y="3662763"/>
              <a:ext cx="1092396" cy="503452"/>
            </a:xfrm>
            <a:prstGeom prst="rect">
              <a:avLst/>
            </a:prstGeom>
          </p:spPr>
          <p:txBody>
            <a:bodyPr wrap="square">
              <a:prstTxWarp prst="textArchDown">
                <a:avLst>
                  <a:gd name="adj" fmla="val 1405976"/>
                </a:avLst>
              </a:prstTxWarp>
              <a:spAutoFit/>
            </a:bodyPr>
            <a:lstStyle/>
            <a:p>
              <a:pPr algn="ctr" defTabSz="685800">
                <a:defRPr/>
              </a:pPr>
              <a:r>
                <a:rPr lang="en-US" sz="21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e value Integrity 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978C1A72-DAAB-470A-AA85-346CD4977857}"/>
                </a:ext>
              </a:extLst>
            </p:cNvPr>
            <p:cNvSpPr txBox="1"/>
            <p:nvPr/>
          </p:nvSpPr>
          <p:spPr>
            <a:xfrm>
              <a:off x="4661559" y="4132993"/>
              <a:ext cx="90105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cs typeface="Calibri" panose="020F0502020204030204" pitchFamily="34" charset="0"/>
                </a:rPr>
                <a:t>Change Agile</a:t>
              </a:r>
              <a:endParaRPr lang="en-US" sz="1100">
                <a:solidFill>
                  <a:prstClr val="white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8CA88BE5-58F8-4E08-A802-381889AA37A5}"/>
                </a:ext>
              </a:extLst>
            </p:cNvPr>
            <p:cNvSpPr/>
            <p:nvPr/>
          </p:nvSpPr>
          <p:spPr>
            <a:xfrm>
              <a:off x="3348004" y="4122462"/>
              <a:ext cx="1059894" cy="582553"/>
            </a:xfrm>
            <a:prstGeom prst="rect">
              <a:avLst/>
            </a:prstGeom>
          </p:spPr>
          <p:txBody>
            <a:bodyPr wrap="square">
              <a:prstTxWarp prst="textArchDown">
                <a:avLst>
                  <a:gd name="adj" fmla="val 988236"/>
                </a:avLst>
              </a:prstTxWarp>
              <a:spAutoFit/>
            </a:bodyPr>
            <a:lstStyle/>
            <a:p>
              <a:pPr algn="ctr" defTabSz="685800">
                <a:defRPr/>
              </a:pPr>
              <a:r>
                <a:rPr lang="en-US" sz="21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e value Excellence </a:t>
              </a:r>
            </a:p>
          </p:txBody>
        </p:sp>
        <p:sp>
          <p:nvSpPr>
            <p:cNvPr id="107" name="Block Arc 106">
              <a:extLst>
                <a:ext uri="{FF2B5EF4-FFF2-40B4-BE49-F238E27FC236}">
                  <a16:creationId xmlns:a16="http://schemas.microsoft.com/office/drawing/2014/main" id="{108D759B-1519-4AA0-AD2C-F92FBC4565D8}"/>
                </a:ext>
              </a:extLst>
            </p:cNvPr>
            <p:cNvSpPr/>
            <p:nvPr/>
          </p:nvSpPr>
          <p:spPr>
            <a:xfrm rot="20556388">
              <a:off x="2150597" y="2151020"/>
              <a:ext cx="3439949" cy="3439949"/>
            </a:xfrm>
            <a:prstGeom prst="blockArc">
              <a:avLst>
                <a:gd name="adj1" fmla="val 20219796"/>
                <a:gd name="adj2" fmla="val 871660"/>
                <a:gd name="adj3" fmla="val 20618"/>
              </a:avLst>
            </a:prstGeom>
            <a:solidFill>
              <a:srgbClr val="01509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50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DCAA3C4C-2206-45ED-A3EC-23D246B9B1A5}"/>
                </a:ext>
              </a:extLst>
            </p:cNvPr>
            <p:cNvSpPr txBox="1"/>
            <p:nvPr/>
          </p:nvSpPr>
          <p:spPr>
            <a:xfrm>
              <a:off x="4729270" y="3189564"/>
              <a:ext cx="86462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15">
                <a:buSzPts val="1000"/>
                <a:tabLst>
                  <a:tab pos="342900" algn="l"/>
                </a:tabLst>
                <a:defRPr/>
              </a:pPr>
              <a:r>
                <a:rPr lang="en-US" sz="1100" b="1">
                  <a:solidFill>
                    <a:prstClr val="white"/>
                  </a:solidFill>
                  <a:cs typeface="Calibri" panose="020F0502020204030204" pitchFamily="34" charset="0"/>
                </a:rPr>
                <a:t>Future Proofing</a:t>
              </a:r>
              <a:endParaRPr lang="en-US" sz="1100">
                <a:solidFill>
                  <a:prstClr val="white"/>
                </a:solidFill>
                <a:cs typeface="Calibri" panose="020F0502020204030204" pitchFamily="34" charset="0"/>
              </a:endParaRPr>
            </a:p>
          </p:txBody>
        </p:sp>
      </p:grp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B03F8A3-BACF-4EBE-9E15-349B5ACAD0F4}"/>
              </a:ext>
            </a:extLst>
          </p:cNvPr>
          <p:cNvCxnSpPr>
            <a:cxnSpLocks/>
          </p:cNvCxnSpPr>
          <p:nvPr/>
        </p:nvCxnSpPr>
        <p:spPr>
          <a:xfrm>
            <a:off x="7009838" y="5137255"/>
            <a:ext cx="461622" cy="4062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FF46913-B42F-44D0-8001-6769D126EA43}"/>
              </a:ext>
            </a:extLst>
          </p:cNvPr>
          <p:cNvCxnSpPr>
            <a:cxnSpLocks/>
          </p:cNvCxnSpPr>
          <p:nvPr/>
        </p:nvCxnSpPr>
        <p:spPr>
          <a:xfrm flipV="1">
            <a:off x="7504908" y="4365956"/>
            <a:ext cx="247874" cy="1676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4364EEF-62B4-4D8E-BE6F-132AF94DB24E}"/>
              </a:ext>
            </a:extLst>
          </p:cNvPr>
          <p:cNvCxnSpPr>
            <a:cxnSpLocks/>
          </p:cNvCxnSpPr>
          <p:nvPr/>
        </p:nvCxnSpPr>
        <p:spPr>
          <a:xfrm flipV="1">
            <a:off x="6999210" y="1845548"/>
            <a:ext cx="466542" cy="4660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C69FCC87-1020-4F90-AEC3-2AA965554D7C}"/>
              </a:ext>
            </a:extLst>
          </p:cNvPr>
          <p:cNvCxnSpPr>
            <a:cxnSpLocks/>
          </p:cNvCxnSpPr>
          <p:nvPr/>
        </p:nvCxnSpPr>
        <p:spPr>
          <a:xfrm flipH="1" flipV="1">
            <a:off x="4203466" y="3038454"/>
            <a:ext cx="152223" cy="1293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3E007A1-228C-474D-8983-BF3D6EFEE1F9}"/>
              </a:ext>
            </a:extLst>
          </p:cNvPr>
          <p:cNvSpPr/>
          <p:nvPr/>
        </p:nvSpPr>
        <p:spPr>
          <a:xfrm>
            <a:off x="821757" y="1652605"/>
            <a:ext cx="260755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715" fontAlgn="ctr">
              <a:buSzPts val="1000"/>
              <a:tabLst>
                <a:tab pos="342900" algn="l"/>
              </a:tabLst>
              <a:defRPr/>
            </a:pPr>
            <a:r>
              <a:rPr lang="en-US" sz="11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 entrepreneurial mindset; recognize and seize opportunities; take measured risk into account. Focus on initiatives that drive  business advancement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20E569A-365C-4068-8305-31D0AD3B5481}"/>
              </a:ext>
            </a:extLst>
          </p:cNvPr>
          <p:cNvSpPr/>
          <p:nvPr/>
        </p:nvSpPr>
        <p:spPr>
          <a:xfrm>
            <a:off x="532985" y="2885361"/>
            <a:ext cx="287023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85715">
              <a:buSzPts val="1000"/>
              <a:tabLst>
                <a:tab pos="342900" algn="l"/>
              </a:tabLst>
              <a:defRPr/>
            </a:pPr>
            <a:r>
              <a:rPr lang="en-US" sz="11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ults focused, delivering stretching outcomes both as an individual and through teams, with no fear of failure, showing enthusiasm and self-motivation to perform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BED970A-29EA-49C0-B5E9-8929051B9463}"/>
              </a:ext>
            </a:extLst>
          </p:cNvPr>
          <p:cNvSpPr/>
          <p:nvPr/>
        </p:nvSpPr>
        <p:spPr>
          <a:xfrm>
            <a:off x="608722" y="4122450"/>
            <a:ext cx="2795065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85715" fontAlgn="ctr">
              <a:buSzPts val="1000"/>
              <a:tabLst>
                <a:tab pos="342900" algn="l"/>
              </a:tabLst>
              <a:defRPr/>
            </a:pPr>
            <a:r>
              <a:rPr lang="en-US" sz="11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fident managing the various challenges that our increasingly complex workplace and roles demand: global, digital, competitor, consumer, employees.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C8DA5F9-CA09-45B5-8249-1824BFF9AF0D}"/>
              </a:ext>
            </a:extLst>
          </p:cNvPr>
          <p:cNvSpPr/>
          <p:nvPr/>
        </p:nvSpPr>
        <p:spPr>
          <a:xfrm>
            <a:off x="592051" y="5526259"/>
            <a:ext cx="2815490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715" fontAlgn="ctr">
              <a:buSzPts val="1000"/>
              <a:tabLst>
                <a:tab pos="342900" algn="l"/>
              </a:tabLst>
              <a:defRPr/>
            </a:pPr>
            <a:r>
              <a:rPr lang="en-US" sz="11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positive momentum by persuading the organization, demonstrating personal courage, and an ability to durably align different opinions.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05AB5F2-E5E1-4A3D-99E8-1AC265E9163E}"/>
              </a:ext>
            </a:extLst>
          </p:cNvPr>
          <p:cNvCxnSpPr/>
          <p:nvPr/>
        </p:nvCxnSpPr>
        <p:spPr>
          <a:xfrm>
            <a:off x="7465752" y="1846761"/>
            <a:ext cx="90601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EFDB14A-80FC-4ED1-B758-4DDCCA986E9E}"/>
              </a:ext>
            </a:extLst>
          </p:cNvPr>
          <p:cNvCxnSpPr/>
          <p:nvPr/>
        </p:nvCxnSpPr>
        <p:spPr>
          <a:xfrm>
            <a:off x="7868859" y="3038164"/>
            <a:ext cx="53788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531A0D37-B0A0-4D57-B37A-A452CE13C06C}"/>
              </a:ext>
            </a:extLst>
          </p:cNvPr>
          <p:cNvCxnSpPr>
            <a:cxnSpLocks/>
          </p:cNvCxnSpPr>
          <p:nvPr/>
        </p:nvCxnSpPr>
        <p:spPr>
          <a:xfrm flipH="1" flipV="1">
            <a:off x="4509579" y="2003383"/>
            <a:ext cx="408005" cy="3787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61783D8-8259-43A3-8DD1-328383C8DE96}"/>
              </a:ext>
            </a:extLst>
          </p:cNvPr>
          <p:cNvCxnSpPr/>
          <p:nvPr/>
        </p:nvCxnSpPr>
        <p:spPr>
          <a:xfrm>
            <a:off x="7748512" y="4367652"/>
            <a:ext cx="7718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022C6D5-53D2-4EA6-B87F-0F2DD2FCE948}"/>
              </a:ext>
            </a:extLst>
          </p:cNvPr>
          <p:cNvCxnSpPr/>
          <p:nvPr/>
        </p:nvCxnSpPr>
        <p:spPr>
          <a:xfrm>
            <a:off x="7471460" y="5543526"/>
            <a:ext cx="66053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70C19326-D69A-4504-8128-6456545BBC01}"/>
              </a:ext>
            </a:extLst>
          </p:cNvPr>
          <p:cNvCxnSpPr/>
          <p:nvPr/>
        </p:nvCxnSpPr>
        <p:spPr>
          <a:xfrm flipH="1">
            <a:off x="3830339" y="2003383"/>
            <a:ext cx="679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7E501D0A-8DE9-4900-BE2E-C6440995F725}"/>
              </a:ext>
            </a:extLst>
          </p:cNvPr>
          <p:cNvCxnSpPr/>
          <p:nvPr/>
        </p:nvCxnSpPr>
        <p:spPr>
          <a:xfrm flipH="1">
            <a:off x="3528708" y="3038454"/>
            <a:ext cx="679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902C34F1-5A35-47A5-BB18-BF92AF4A5D9A}"/>
              </a:ext>
            </a:extLst>
          </p:cNvPr>
          <p:cNvCxnSpPr>
            <a:cxnSpLocks/>
          </p:cNvCxnSpPr>
          <p:nvPr/>
        </p:nvCxnSpPr>
        <p:spPr>
          <a:xfrm flipH="1" flipV="1">
            <a:off x="4206895" y="4315431"/>
            <a:ext cx="240324" cy="1586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0D5FB21A-3608-4DF8-9F64-3D8B0CF03AFB}"/>
              </a:ext>
            </a:extLst>
          </p:cNvPr>
          <p:cNvCxnSpPr>
            <a:cxnSpLocks/>
          </p:cNvCxnSpPr>
          <p:nvPr/>
        </p:nvCxnSpPr>
        <p:spPr>
          <a:xfrm flipH="1">
            <a:off x="3736767" y="4315978"/>
            <a:ext cx="4739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6D8F7A13-3C2B-47EF-ABE8-24092E91D2C3}"/>
              </a:ext>
            </a:extLst>
          </p:cNvPr>
          <p:cNvCxnSpPr>
            <a:cxnSpLocks/>
          </p:cNvCxnSpPr>
          <p:nvPr/>
        </p:nvCxnSpPr>
        <p:spPr>
          <a:xfrm flipH="1">
            <a:off x="4726720" y="5337978"/>
            <a:ext cx="496543" cy="4946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4FEFBD82-5536-4C16-AA2A-64682CDCC4F6}"/>
              </a:ext>
            </a:extLst>
          </p:cNvPr>
          <p:cNvCxnSpPr/>
          <p:nvPr/>
        </p:nvCxnSpPr>
        <p:spPr>
          <a:xfrm flipH="1">
            <a:off x="3820343" y="5834436"/>
            <a:ext cx="91085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val 82">
            <a:extLst>
              <a:ext uri="{FF2B5EF4-FFF2-40B4-BE49-F238E27FC236}">
                <a16:creationId xmlns:a16="http://schemas.microsoft.com/office/drawing/2014/main" id="{69AB0473-148D-4EAC-8594-1D7F300088FC}"/>
              </a:ext>
            </a:extLst>
          </p:cNvPr>
          <p:cNvSpPr/>
          <p:nvPr/>
        </p:nvSpPr>
        <p:spPr>
          <a:xfrm>
            <a:off x="3823437" y="1964093"/>
            <a:ext cx="67111" cy="6711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FF1B709-54AC-4E3E-8489-AD62DAD8468F}"/>
              </a:ext>
            </a:extLst>
          </p:cNvPr>
          <p:cNvSpPr/>
          <p:nvPr/>
        </p:nvSpPr>
        <p:spPr>
          <a:xfrm>
            <a:off x="3507322" y="2997656"/>
            <a:ext cx="67111" cy="6711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87C565A7-E738-4C5E-8BA6-AD011C77C928}"/>
              </a:ext>
            </a:extLst>
          </p:cNvPr>
          <p:cNvSpPr/>
          <p:nvPr/>
        </p:nvSpPr>
        <p:spPr>
          <a:xfrm>
            <a:off x="3722826" y="4280630"/>
            <a:ext cx="67111" cy="6711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A4918340-58F0-4107-B97E-11CC9E7D3B69}"/>
              </a:ext>
            </a:extLst>
          </p:cNvPr>
          <p:cNvSpPr/>
          <p:nvPr/>
        </p:nvSpPr>
        <p:spPr>
          <a:xfrm>
            <a:off x="3806478" y="5811633"/>
            <a:ext cx="67111" cy="6711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8ABD9567-B2A6-4BB0-9572-CF0F2BD27C32}"/>
              </a:ext>
            </a:extLst>
          </p:cNvPr>
          <p:cNvSpPr/>
          <p:nvPr/>
        </p:nvSpPr>
        <p:spPr>
          <a:xfrm>
            <a:off x="8314978" y="1809895"/>
            <a:ext cx="67111" cy="6711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8A7A00F-3DFB-4DF9-B753-8E79AC8D226F}"/>
              </a:ext>
            </a:extLst>
          </p:cNvPr>
          <p:cNvSpPr/>
          <p:nvPr/>
        </p:nvSpPr>
        <p:spPr>
          <a:xfrm>
            <a:off x="8363878" y="3014783"/>
            <a:ext cx="67111" cy="6711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AAE3E57C-8CC7-4967-9E72-3197F41BC1BB}"/>
              </a:ext>
            </a:extLst>
          </p:cNvPr>
          <p:cNvSpPr/>
          <p:nvPr/>
        </p:nvSpPr>
        <p:spPr>
          <a:xfrm>
            <a:off x="8480052" y="4334096"/>
            <a:ext cx="67111" cy="6711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0356EB79-3618-4FE0-B576-06E2D3D7512B}"/>
              </a:ext>
            </a:extLst>
          </p:cNvPr>
          <p:cNvSpPr/>
          <p:nvPr/>
        </p:nvSpPr>
        <p:spPr>
          <a:xfrm>
            <a:off x="8119743" y="5509970"/>
            <a:ext cx="67111" cy="6711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A4810CEC-BCF4-4221-B25B-A3F9F6EE1D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21475"/>
            <a:ext cx="12192000" cy="182033"/>
          </a:xfrm>
          <a:prstGeom prst="rect">
            <a:avLst/>
          </a:prstGeom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3C45B02A-812F-4184-B3AE-A7B6743341E9}"/>
              </a:ext>
            </a:extLst>
          </p:cNvPr>
          <p:cNvSpPr/>
          <p:nvPr/>
        </p:nvSpPr>
        <p:spPr>
          <a:xfrm>
            <a:off x="937521" y="1390932"/>
            <a:ext cx="24917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715" fontAlgn="ctr">
              <a:buSzPts val="1000"/>
              <a:tabLst>
                <a:tab pos="342900" algn="l"/>
              </a:tabLst>
              <a:defRPr/>
            </a:pPr>
            <a:r>
              <a:rPr lang="en-US" sz="12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ercial Drive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C7E281B-D8C4-4EAC-8799-96BB01A9DF66}"/>
              </a:ext>
            </a:extLst>
          </p:cNvPr>
          <p:cNvSpPr/>
          <p:nvPr/>
        </p:nvSpPr>
        <p:spPr>
          <a:xfrm>
            <a:off x="904754" y="2660826"/>
            <a:ext cx="24917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715" fontAlgn="ctr">
              <a:buSzPts val="1000"/>
              <a:tabLst>
                <a:tab pos="342900" algn="l"/>
              </a:tabLst>
              <a:defRPr/>
            </a:pPr>
            <a:r>
              <a:rPr lang="en-US" sz="12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al Driv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EB48399-BE73-42C2-942B-ED7665BCF44B}"/>
              </a:ext>
            </a:extLst>
          </p:cNvPr>
          <p:cNvSpPr/>
          <p:nvPr/>
        </p:nvSpPr>
        <p:spPr>
          <a:xfrm>
            <a:off x="912704" y="3883185"/>
            <a:ext cx="24917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715" fontAlgn="ctr">
              <a:buSzPts val="1000"/>
              <a:tabLst>
                <a:tab pos="342900" algn="l"/>
              </a:tabLst>
              <a:defRPr/>
            </a:pPr>
            <a:r>
              <a:rPr lang="en-US" sz="12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naging Complexity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FBABDAF-E7BF-4BF0-A58F-0FDC9280C889}"/>
              </a:ext>
            </a:extLst>
          </p:cNvPr>
          <p:cNvSpPr/>
          <p:nvPr/>
        </p:nvSpPr>
        <p:spPr>
          <a:xfrm>
            <a:off x="900369" y="5256977"/>
            <a:ext cx="24917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715" fontAlgn="ctr">
              <a:buSzPts val="1000"/>
              <a:tabLst>
                <a:tab pos="342900" algn="l"/>
              </a:tabLst>
              <a:defRPr/>
            </a:pPr>
            <a:r>
              <a:rPr lang="en-US" sz="12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fluence &amp; Challeng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A6261F6-89FE-4023-B356-6F57646B51F8}"/>
              </a:ext>
            </a:extLst>
          </p:cNvPr>
          <p:cNvSpPr txBox="1"/>
          <p:nvPr/>
        </p:nvSpPr>
        <p:spPr>
          <a:xfrm>
            <a:off x="2660047" y="260072"/>
            <a:ext cx="66718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>
                <a:solidFill>
                  <a:srgbClr val="009FE3"/>
                </a:solidFill>
                <a:latin typeface="Graphik Semibold" panose="020B07030302020602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8 LEADERSHIP COMPETENCIES</a:t>
            </a:r>
          </a:p>
          <a:p>
            <a:pPr algn="ctr"/>
            <a:r>
              <a:rPr lang="en-US" sz="2800">
                <a:latin typeface="Graphik Semibold" panose="020B07030302020602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 FOR SUCCESS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A4249A4-5372-4BD1-903B-ADFA4E64D3ED}"/>
              </a:ext>
            </a:extLst>
          </p:cNvPr>
          <p:cNvSpPr/>
          <p:nvPr/>
        </p:nvSpPr>
        <p:spPr>
          <a:xfrm>
            <a:off x="8617784" y="1492285"/>
            <a:ext cx="260755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15" fontAlgn="ctr">
              <a:buSzPts val="1000"/>
              <a:tabLst>
                <a:tab pos="342900" algn="l"/>
              </a:tabLst>
              <a:defRPr/>
            </a:pPr>
            <a:r>
              <a:rPr lang="en-US" sz="11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ks to delight internal and external customers with exceptional service and products, acting as a trusted advisor.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0B12FE0-7FA1-4B87-AD49-D662A2E3F10A}"/>
              </a:ext>
            </a:extLst>
          </p:cNvPr>
          <p:cNvSpPr/>
          <p:nvPr/>
        </p:nvSpPr>
        <p:spPr>
          <a:xfrm>
            <a:off x="8617784" y="2661541"/>
            <a:ext cx="279506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15">
              <a:buSzPts val="1000"/>
              <a:tabLst>
                <a:tab pos="342900" algn="l"/>
              </a:tabLst>
              <a:defRPr/>
            </a:pPr>
            <a:r>
              <a:rPr lang="en-US" sz="11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monstrate an unquestionable willingness to learn everyday, un-learn old approaches, and partner with others to assist them in doing the same.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32D33FA-6ECC-4E14-AF2B-DF1BF569DBF0}"/>
              </a:ext>
            </a:extLst>
          </p:cNvPr>
          <p:cNvSpPr/>
          <p:nvPr/>
        </p:nvSpPr>
        <p:spPr>
          <a:xfrm>
            <a:off x="8617784" y="3835130"/>
            <a:ext cx="2795065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15" fontAlgn="ctr">
              <a:buSzPts val="1000"/>
              <a:tabLst>
                <a:tab pos="342900" algn="l"/>
              </a:tabLst>
              <a:defRPr/>
            </a:pPr>
            <a:r>
              <a:rPr lang="en-US" sz="11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ticipate and lead change: adapt actions, accordingly, demonstrate tolerance for ambiguity; have a comfort with uncertainty. Shows flexibility in adjusting own views and objectives in order to achieve a shared goal.</a:t>
            </a:r>
            <a:r>
              <a:rPr lang="en-US" sz="11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US" sz="1100" b="1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26934191-CDBC-4405-B648-65114B939834}"/>
              </a:ext>
            </a:extLst>
          </p:cNvPr>
          <p:cNvSpPr/>
          <p:nvPr/>
        </p:nvSpPr>
        <p:spPr>
          <a:xfrm>
            <a:off x="8617784" y="5454839"/>
            <a:ext cx="2815490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15" fontAlgn="ctr">
              <a:buSzPts val="1000"/>
              <a:tabLst>
                <a:tab pos="342900" algn="l"/>
              </a:tabLst>
              <a:defRPr/>
            </a:pPr>
            <a:r>
              <a:rPr lang="en-US" sz="11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pire people through a compelling vision fueled by a culture of support, enablement and empathy. Building a safe environment for employees to be at their best, feel included and valued. 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792CA48-5A27-4346-83AC-BA1CADE2CAEE}"/>
              </a:ext>
            </a:extLst>
          </p:cNvPr>
          <p:cNvSpPr/>
          <p:nvPr/>
        </p:nvSpPr>
        <p:spPr>
          <a:xfrm>
            <a:off x="8617784" y="1230612"/>
            <a:ext cx="24917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15" fontAlgn="ctr">
              <a:buSzPts val="1000"/>
              <a:tabLst>
                <a:tab pos="342900" algn="l"/>
              </a:tabLst>
              <a:defRPr/>
            </a:pPr>
            <a:r>
              <a:rPr lang="en-US" sz="12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stomer Centricity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30CB480-6191-410F-A737-E1802EC43B34}"/>
              </a:ext>
            </a:extLst>
          </p:cNvPr>
          <p:cNvSpPr/>
          <p:nvPr/>
        </p:nvSpPr>
        <p:spPr>
          <a:xfrm>
            <a:off x="8617784" y="2411606"/>
            <a:ext cx="24917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15" fontAlgn="ctr">
              <a:buSzPts val="1000"/>
              <a:tabLst>
                <a:tab pos="342900" algn="l"/>
              </a:tabLst>
              <a:defRPr/>
            </a:pPr>
            <a:r>
              <a:rPr lang="en-US" sz="12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ture Proof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414907D-852E-41EC-9AF0-E3EB328A6BDC}"/>
              </a:ext>
            </a:extLst>
          </p:cNvPr>
          <p:cNvSpPr/>
          <p:nvPr/>
        </p:nvSpPr>
        <p:spPr>
          <a:xfrm>
            <a:off x="8617784" y="3583165"/>
            <a:ext cx="24917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15" fontAlgn="ctr">
              <a:buSzPts val="1000"/>
              <a:tabLst>
                <a:tab pos="342900" algn="l"/>
              </a:tabLst>
              <a:defRPr/>
            </a:pPr>
            <a:r>
              <a:rPr lang="en-US" sz="12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ange Agile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B15E1E4-1EBA-48D9-884A-6A50CE630853}"/>
              </a:ext>
            </a:extLst>
          </p:cNvPr>
          <p:cNvSpPr/>
          <p:nvPr/>
        </p:nvSpPr>
        <p:spPr>
          <a:xfrm>
            <a:off x="8617784" y="5185557"/>
            <a:ext cx="24917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15" fontAlgn="ctr">
              <a:buSzPts val="1000"/>
              <a:tabLst>
                <a:tab pos="342900" algn="l"/>
              </a:tabLst>
              <a:defRPr/>
            </a:pPr>
            <a:r>
              <a:rPr lang="en-US" sz="12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aging Leadershi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31477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DDAF1CC-0337-ED91-7BB7-014FA2A4DF6C}"/>
              </a:ext>
            </a:extLst>
          </p:cNvPr>
          <p:cNvSpPr/>
          <p:nvPr/>
        </p:nvSpPr>
        <p:spPr>
          <a:xfrm>
            <a:off x="7375162" y="1059941"/>
            <a:ext cx="2232248" cy="2448272"/>
          </a:xfrm>
          <a:prstGeom prst="roundRect">
            <a:avLst>
              <a:gd name="adj" fmla="val 69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860CF62-8C60-3297-9F02-E3D82C2BA498}"/>
              </a:ext>
            </a:extLst>
          </p:cNvPr>
          <p:cNvSpPr/>
          <p:nvPr/>
        </p:nvSpPr>
        <p:spPr>
          <a:xfrm>
            <a:off x="7375162" y="3803139"/>
            <a:ext cx="2232248" cy="2448272"/>
          </a:xfrm>
          <a:prstGeom prst="roundRect">
            <a:avLst>
              <a:gd name="adj" fmla="val 69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12F9227E-BD5F-F744-23C5-DCA45844FC6B}"/>
              </a:ext>
            </a:extLst>
          </p:cNvPr>
          <p:cNvSpPr/>
          <p:nvPr/>
        </p:nvSpPr>
        <p:spPr>
          <a:xfrm>
            <a:off x="9784065" y="1059941"/>
            <a:ext cx="2232248" cy="2448272"/>
          </a:xfrm>
          <a:prstGeom prst="roundRect">
            <a:avLst>
              <a:gd name="adj" fmla="val 69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BE42C549-6826-EDE4-3853-359053761004}"/>
              </a:ext>
            </a:extLst>
          </p:cNvPr>
          <p:cNvSpPr/>
          <p:nvPr/>
        </p:nvSpPr>
        <p:spPr>
          <a:xfrm>
            <a:off x="9784065" y="3803139"/>
            <a:ext cx="2232248" cy="2448272"/>
          </a:xfrm>
          <a:prstGeom prst="roundRect">
            <a:avLst>
              <a:gd name="adj" fmla="val 69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649C05A5-52A3-358A-6F45-F7C7BA0E5BA0}"/>
              </a:ext>
            </a:extLst>
          </p:cNvPr>
          <p:cNvSpPr/>
          <p:nvPr/>
        </p:nvSpPr>
        <p:spPr>
          <a:xfrm>
            <a:off x="8017670" y="937103"/>
            <a:ext cx="947232" cy="947232"/>
          </a:xfrm>
          <a:prstGeom prst="ellipse">
            <a:avLst/>
          </a:prstGeom>
          <a:gradFill>
            <a:gsLst>
              <a:gs pos="100000">
                <a:schemeClr val="accent5">
                  <a:lumMod val="75000"/>
                </a:schemeClr>
              </a:gs>
              <a:gs pos="0">
                <a:schemeClr val="accent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1C6D7A7-CAF5-8A3E-2D59-CAC69D544BA3}"/>
              </a:ext>
            </a:extLst>
          </p:cNvPr>
          <p:cNvGrpSpPr/>
          <p:nvPr/>
        </p:nvGrpSpPr>
        <p:grpSpPr>
          <a:xfrm>
            <a:off x="7596552" y="2182573"/>
            <a:ext cx="1789471" cy="1056689"/>
            <a:chOff x="1889411" y="1700979"/>
            <a:chExt cx="3714976" cy="1056689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FBD6F556-9CD0-DCE4-D4FB-0FE76227196B}"/>
                </a:ext>
              </a:extLst>
            </p:cNvPr>
            <p:cNvSpPr/>
            <p:nvPr/>
          </p:nvSpPr>
          <p:spPr>
            <a:xfrm>
              <a:off x="1889411" y="2075941"/>
              <a:ext cx="3714976" cy="681727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algn="ctr"/>
              <a:r>
                <a:rPr lang="en-IN" sz="1400" b="1" dirty="0">
                  <a:solidFill>
                    <a:schemeClr val="accent5">
                      <a:lumMod val="7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Target Timeline 2024</a:t>
              </a:r>
              <a:endParaRPr lang="en-IN" sz="14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8361F340-5497-1A4E-2D46-E6E141D22D73}"/>
                </a:ext>
              </a:extLst>
            </p:cNvPr>
            <p:cNvSpPr/>
            <p:nvPr/>
          </p:nvSpPr>
          <p:spPr>
            <a:xfrm>
              <a:off x="1889411" y="1700979"/>
              <a:ext cx="3714976" cy="242844"/>
            </a:xfrm>
            <a:prstGeom prst="rect">
              <a:avLst/>
            </a:prstGeom>
          </p:spPr>
          <p:txBody>
            <a:bodyPr wrap="square" lIns="0" tIns="0" rIns="0" bIns="0" anchor="b">
              <a:noAutofit/>
            </a:bodyPr>
            <a:lstStyle/>
            <a:p>
              <a:pPr algn="ctr"/>
              <a:r>
                <a:rPr lang="en-IN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Mar-July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30B8458-EA3F-C3B3-15E7-5F87D0F0DE83}"/>
              </a:ext>
            </a:extLst>
          </p:cNvPr>
          <p:cNvGrpSpPr/>
          <p:nvPr/>
        </p:nvGrpSpPr>
        <p:grpSpPr>
          <a:xfrm>
            <a:off x="10032405" y="2425109"/>
            <a:ext cx="1846023" cy="1113116"/>
            <a:chOff x="1945360" y="1943515"/>
            <a:chExt cx="3832379" cy="1113116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5A71A6D8-C31A-1749-4967-7427934299CC}"/>
                </a:ext>
              </a:extLst>
            </p:cNvPr>
            <p:cNvSpPr/>
            <p:nvPr/>
          </p:nvSpPr>
          <p:spPr>
            <a:xfrm>
              <a:off x="2062763" y="2374904"/>
              <a:ext cx="3714976" cy="681727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algn="ctr"/>
              <a:r>
                <a:rPr lang="en-IN" sz="1400" b="1" dirty="0">
                  <a:solidFill>
                    <a:schemeClr val="tx2">
                      <a:lumMod val="50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Scope</a:t>
              </a: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of Delivery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3D112A7-1696-110E-00F5-B26FE7843274}"/>
                </a:ext>
              </a:extLst>
            </p:cNvPr>
            <p:cNvSpPr/>
            <p:nvPr/>
          </p:nvSpPr>
          <p:spPr>
            <a:xfrm>
              <a:off x="1945360" y="1943515"/>
              <a:ext cx="3714976" cy="242844"/>
            </a:xfrm>
            <a:prstGeom prst="rect">
              <a:avLst/>
            </a:prstGeom>
          </p:spPr>
          <p:txBody>
            <a:bodyPr wrap="square" lIns="0" tIns="0" rIns="0" bIns="0" anchor="b">
              <a:noAutofit/>
            </a:bodyPr>
            <a:lstStyle/>
            <a:p>
              <a:pPr algn="ctr"/>
              <a:r>
                <a:rPr lang="en-IN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UAE + International</a:t>
              </a:r>
            </a:p>
          </p:txBody>
        </p:sp>
      </p:grpSp>
      <p:sp>
        <p:nvSpPr>
          <p:cNvPr id="67" name="Oval 66">
            <a:extLst>
              <a:ext uri="{FF2B5EF4-FFF2-40B4-BE49-F238E27FC236}">
                <a16:creationId xmlns:a16="http://schemas.microsoft.com/office/drawing/2014/main" id="{C8116B83-C29F-269F-10E1-1E1D939B16FA}"/>
              </a:ext>
            </a:extLst>
          </p:cNvPr>
          <p:cNvSpPr/>
          <p:nvPr/>
        </p:nvSpPr>
        <p:spPr>
          <a:xfrm>
            <a:off x="10426573" y="937103"/>
            <a:ext cx="947232" cy="947232"/>
          </a:xfrm>
          <a:prstGeom prst="ellipse">
            <a:avLst/>
          </a:prstGeom>
          <a:gradFill>
            <a:gsLst>
              <a:gs pos="100000">
                <a:schemeClr val="accent4">
                  <a:lumMod val="75000"/>
                </a:schemeClr>
              </a:gs>
              <a:gs pos="0">
                <a:schemeClr val="accent4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1B33B92A-A420-85F9-4A9C-F6ACB0065548}"/>
              </a:ext>
            </a:extLst>
          </p:cNvPr>
          <p:cNvSpPr/>
          <p:nvPr/>
        </p:nvSpPr>
        <p:spPr>
          <a:xfrm>
            <a:off x="8017670" y="3660638"/>
            <a:ext cx="947232" cy="947232"/>
          </a:xfrm>
          <a:prstGeom prst="ellipse">
            <a:avLst/>
          </a:prstGeom>
          <a:gradFill>
            <a:gsLst>
              <a:gs pos="100000">
                <a:schemeClr val="accent2">
                  <a:lumMod val="75000"/>
                </a:schemeClr>
              </a:gs>
              <a:gs pos="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84CC1807-B4E7-A27C-386C-808378D12F39}"/>
              </a:ext>
            </a:extLst>
          </p:cNvPr>
          <p:cNvGrpSpPr/>
          <p:nvPr/>
        </p:nvGrpSpPr>
        <p:grpSpPr>
          <a:xfrm>
            <a:off x="7596552" y="4906108"/>
            <a:ext cx="1789471" cy="1195835"/>
            <a:chOff x="1889411" y="1700979"/>
            <a:chExt cx="3714976" cy="1195835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ADCF59C3-C3AD-ADCE-B0CB-756625E2B173}"/>
                </a:ext>
              </a:extLst>
            </p:cNvPr>
            <p:cNvSpPr/>
            <p:nvPr/>
          </p:nvSpPr>
          <p:spPr>
            <a:xfrm>
              <a:off x="1889411" y="2215087"/>
              <a:ext cx="3714976" cy="681727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algn="ctr"/>
              <a:r>
                <a:rPr lang="en-IN" sz="1400" b="1" dirty="0">
                  <a:solidFill>
                    <a:schemeClr val="accent2">
                      <a:lumMod val="7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Delivery Mode</a:t>
              </a:r>
            </a:p>
            <a:p>
              <a:pPr algn="ctr"/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27% External</a:t>
              </a:r>
            </a:p>
            <a:p>
              <a:pPr algn="ctr"/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73% Internal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736C7681-1C41-F4A6-0F10-8D39F8E088DA}"/>
                </a:ext>
              </a:extLst>
            </p:cNvPr>
            <p:cNvSpPr/>
            <p:nvPr/>
          </p:nvSpPr>
          <p:spPr>
            <a:xfrm>
              <a:off x="1889411" y="1700979"/>
              <a:ext cx="3714976" cy="242844"/>
            </a:xfrm>
            <a:prstGeom prst="rect">
              <a:avLst/>
            </a:prstGeom>
          </p:spPr>
          <p:txBody>
            <a:bodyPr wrap="square" lIns="0" tIns="0" rIns="0" bIns="0" anchor="b">
              <a:noAutofit/>
            </a:bodyPr>
            <a:lstStyle/>
            <a:p>
              <a:pPr algn="ctr"/>
              <a:r>
                <a:rPr lang="en-IN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Hybrid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FB0C3CA4-CDA9-3FB0-4411-112E0FA9E0DC}"/>
              </a:ext>
            </a:extLst>
          </p:cNvPr>
          <p:cNvGrpSpPr/>
          <p:nvPr/>
        </p:nvGrpSpPr>
        <p:grpSpPr>
          <a:xfrm>
            <a:off x="10005455" y="4906108"/>
            <a:ext cx="1789471" cy="1175957"/>
            <a:chOff x="1889411" y="1700979"/>
            <a:chExt cx="3714976" cy="1175957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02E597B9-C395-5D03-4718-04264991E498}"/>
                </a:ext>
              </a:extLst>
            </p:cNvPr>
            <p:cNvSpPr/>
            <p:nvPr/>
          </p:nvSpPr>
          <p:spPr>
            <a:xfrm>
              <a:off x="1889411" y="2195209"/>
              <a:ext cx="3714976" cy="681727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algn="ctr"/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Attendance </a:t>
              </a:r>
              <a:r>
                <a:rPr lang="en-IN" sz="1400" b="1" dirty="0">
                  <a:solidFill>
                    <a:srgbClr val="004C9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KPI</a:t>
              </a: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 </a:t>
              </a:r>
              <a:r>
                <a:rPr lang="en-IN" sz="1400" b="1" dirty="0">
                  <a:solidFill>
                    <a:schemeClr val="accent4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Bands</a:t>
              </a: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I-L = 100%</a:t>
              </a:r>
            </a:p>
            <a:p>
              <a:pPr algn="ctr"/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Bands H = 80% 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7C725360-10C5-2EED-8B2B-FF3E9572CB83}"/>
                </a:ext>
              </a:extLst>
            </p:cNvPr>
            <p:cNvSpPr/>
            <p:nvPr/>
          </p:nvSpPr>
          <p:spPr>
            <a:xfrm>
              <a:off x="1889411" y="1700979"/>
              <a:ext cx="3714976" cy="242844"/>
            </a:xfrm>
            <a:prstGeom prst="rect">
              <a:avLst/>
            </a:prstGeom>
          </p:spPr>
          <p:txBody>
            <a:bodyPr wrap="square" lIns="0" tIns="0" rIns="0" bIns="0" anchor="b">
              <a:noAutofit/>
            </a:bodyPr>
            <a:lstStyle/>
            <a:p>
              <a:pPr algn="ctr"/>
              <a:r>
                <a:rPr lang="en-IN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100%</a:t>
              </a:r>
            </a:p>
          </p:txBody>
        </p:sp>
      </p:grpSp>
      <p:sp>
        <p:nvSpPr>
          <p:cNvPr id="83" name="Oval 82">
            <a:extLst>
              <a:ext uri="{FF2B5EF4-FFF2-40B4-BE49-F238E27FC236}">
                <a16:creationId xmlns:a16="http://schemas.microsoft.com/office/drawing/2014/main" id="{3506DBA8-864B-C848-E6A0-A5403741F794}"/>
              </a:ext>
            </a:extLst>
          </p:cNvPr>
          <p:cNvSpPr/>
          <p:nvPr/>
        </p:nvSpPr>
        <p:spPr>
          <a:xfrm>
            <a:off x="10426573" y="3660638"/>
            <a:ext cx="947232" cy="947232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9" name="Graphic 98" descr="Bar graph with upward trend with solid fill">
            <a:extLst>
              <a:ext uri="{FF2B5EF4-FFF2-40B4-BE49-F238E27FC236}">
                <a16:creationId xmlns:a16="http://schemas.microsoft.com/office/drawing/2014/main" id="{FB0E2875-7D34-D450-5D30-7846B5F638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8040" y="3872105"/>
            <a:ext cx="524298" cy="524298"/>
          </a:xfrm>
          <a:prstGeom prst="rect">
            <a:avLst/>
          </a:prstGeom>
        </p:spPr>
      </p:pic>
      <p:pic>
        <p:nvPicPr>
          <p:cNvPr id="100" name="Graphic 99" descr="Handshake with solid fill">
            <a:extLst>
              <a:ext uri="{FF2B5EF4-FFF2-40B4-BE49-F238E27FC236}">
                <a16:creationId xmlns:a16="http://schemas.microsoft.com/office/drawing/2014/main" id="{414675B7-2992-6E1B-4599-18537D14E6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29137" y="3872105"/>
            <a:ext cx="524298" cy="524298"/>
          </a:xfrm>
          <a:prstGeom prst="rect">
            <a:avLst/>
          </a:prstGeom>
        </p:spPr>
      </p:pic>
      <p:pic>
        <p:nvPicPr>
          <p:cNvPr id="102" name="Graphic 101" descr="Bullseye with solid fill">
            <a:extLst>
              <a:ext uri="{FF2B5EF4-FFF2-40B4-BE49-F238E27FC236}">
                <a16:creationId xmlns:a16="http://schemas.microsoft.com/office/drawing/2014/main" id="{D112D9DE-4DDD-A78B-87ED-6F283AA3E2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38564" y="1129716"/>
            <a:ext cx="524298" cy="524298"/>
          </a:xfrm>
          <a:prstGeom prst="rect">
            <a:avLst/>
          </a:prstGeom>
        </p:spPr>
      </p:pic>
      <p:sp>
        <p:nvSpPr>
          <p:cNvPr id="5" name="Title 11">
            <a:extLst>
              <a:ext uri="{FF2B5EF4-FFF2-40B4-BE49-F238E27FC236}">
                <a16:creationId xmlns:a16="http://schemas.microsoft.com/office/drawing/2014/main" id="{9536458F-2077-22FD-0E59-0092A55D421C}"/>
              </a:ext>
            </a:extLst>
          </p:cNvPr>
          <p:cNvSpPr txBox="1">
            <a:spLocks/>
          </p:cNvSpPr>
          <p:nvPr/>
        </p:nvSpPr>
        <p:spPr>
          <a:xfrm>
            <a:off x="116131" y="75932"/>
            <a:ext cx="7865449" cy="542154"/>
          </a:xfrm>
          <a:prstGeom prst="rect">
            <a:avLst/>
          </a:prstGeom>
        </p:spPr>
        <p:txBody>
          <a:bodyPr vert="horz" lIns="0" tIns="60933" rIns="0" bIns="60933" rtlCol="0" anchor="ctr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8621">
              <a:defRPr/>
            </a:pPr>
            <a:r>
              <a:rPr lang="en-US" sz="2200" b="1" dirty="0">
                <a:latin typeface="Arial"/>
              </a:rPr>
              <a:t>Leadership Competencies 101 Roll-Out: </a:t>
            </a:r>
            <a:r>
              <a:rPr lang="en-US" sz="2200" b="1" dirty="0">
                <a:solidFill>
                  <a:schemeClr val="tx2"/>
                </a:solidFill>
                <a:latin typeface="Arial"/>
              </a:rPr>
              <a:t>Summary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4E1D45-CD1C-6B34-788A-EDEBCCA46FAE}"/>
              </a:ext>
            </a:extLst>
          </p:cNvPr>
          <p:cNvGrpSpPr/>
          <p:nvPr/>
        </p:nvGrpSpPr>
        <p:grpSpPr>
          <a:xfrm>
            <a:off x="92182" y="982735"/>
            <a:ext cx="4674350" cy="5314308"/>
            <a:chOff x="611029" y="1080565"/>
            <a:chExt cx="4674350" cy="5314308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D130905D-3C56-BCCE-498B-A54E3D31F01A}"/>
                </a:ext>
              </a:extLst>
            </p:cNvPr>
            <p:cNvSpPr/>
            <p:nvPr/>
          </p:nvSpPr>
          <p:spPr>
            <a:xfrm>
              <a:off x="611029" y="1203403"/>
              <a:ext cx="2232248" cy="2448272"/>
            </a:xfrm>
            <a:prstGeom prst="roundRect">
              <a:avLst>
                <a:gd name="adj" fmla="val 69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1F1FAA37-A349-0BFE-9A59-4FB219BDEE91}"/>
                </a:ext>
              </a:extLst>
            </p:cNvPr>
            <p:cNvSpPr/>
            <p:nvPr/>
          </p:nvSpPr>
          <p:spPr>
            <a:xfrm>
              <a:off x="611029" y="3946601"/>
              <a:ext cx="2232248" cy="2448272"/>
            </a:xfrm>
            <a:prstGeom prst="roundRect">
              <a:avLst>
                <a:gd name="adj" fmla="val 69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B2D510C-7886-6C54-CE4D-E8356A1F0CAB}"/>
                </a:ext>
              </a:extLst>
            </p:cNvPr>
            <p:cNvSpPr/>
            <p:nvPr/>
          </p:nvSpPr>
          <p:spPr>
            <a:xfrm>
              <a:off x="3019932" y="1203403"/>
              <a:ext cx="2232248" cy="2448272"/>
            </a:xfrm>
            <a:prstGeom prst="roundRect">
              <a:avLst>
                <a:gd name="adj" fmla="val 69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5C3FD904-B329-CFFC-EFD7-28404C06C94F}"/>
                </a:ext>
              </a:extLst>
            </p:cNvPr>
            <p:cNvSpPr/>
            <p:nvPr/>
          </p:nvSpPr>
          <p:spPr>
            <a:xfrm>
              <a:off x="3019932" y="3946601"/>
              <a:ext cx="2232248" cy="2448272"/>
            </a:xfrm>
            <a:prstGeom prst="roundRect">
              <a:avLst>
                <a:gd name="adj" fmla="val 697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F520F5EC-AC0E-680E-C30F-A3092E884B32}"/>
                </a:ext>
              </a:extLst>
            </p:cNvPr>
            <p:cNvSpPr/>
            <p:nvPr/>
          </p:nvSpPr>
          <p:spPr>
            <a:xfrm>
              <a:off x="1253537" y="1080565"/>
              <a:ext cx="947232" cy="947232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F6185F0-6A8C-1E55-9E8C-381CC3B9E52D}"/>
                </a:ext>
              </a:extLst>
            </p:cNvPr>
            <p:cNvSpPr/>
            <p:nvPr/>
          </p:nvSpPr>
          <p:spPr>
            <a:xfrm>
              <a:off x="3662440" y="1080565"/>
              <a:ext cx="947232" cy="947232"/>
            </a:xfrm>
            <a:prstGeom prst="ellipse">
              <a:avLst/>
            </a:prstGeom>
            <a:gradFill>
              <a:gsLst>
                <a:gs pos="100000">
                  <a:schemeClr val="accent2">
                    <a:lumMod val="75000"/>
                  </a:schemeClr>
                </a:gs>
                <a:gs pos="0">
                  <a:schemeClr val="accent2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6BC90B2-CD4A-7E49-E5F7-C51B24A053CE}"/>
                </a:ext>
              </a:extLst>
            </p:cNvPr>
            <p:cNvGrpSpPr/>
            <p:nvPr/>
          </p:nvGrpSpPr>
          <p:grpSpPr>
            <a:xfrm>
              <a:off x="832419" y="2326035"/>
              <a:ext cx="1789471" cy="1016933"/>
              <a:chOff x="1889411" y="1700979"/>
              <a:chExt cx="3714976" cy="1016933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17262073-ECAC-1745-2ED7-23C28E04173E}"/>
                  </a:ext>
                </a:extLst>
              </p:cNvPr>
              <p:cNvSpPr/>
              <p:nvPr/>
            </p:nvSpPr>
            <p:spPr>
              <a:xfrm>
                <a:off x="1889411" y="2036185"/>
                <a:ext cx="3714976" cy="681727"/>
              </a:xfrm>
              <a:prstGeom prst="rect">
                <a:avLst/>
              </a:prstGeom>
            </p:spPr>
            <p:txBody>
              <a:bodyPr wrap="square" lIns="0" tIns="0" rIns="0" bIns="0" anchor="t">
                <a:noAutofit/>
              </a:bodyPr>
              <a:lstStyle/>
              <a:p>
                <a:pPr algn="ctr"/>
                <a:r>
                  <a:rPr lang="en-IN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Estimate </a:t>
                </a:r>
                <a:r>
                  <a:rPr lang="en-IN" sz="1400" b="1" dirty="0">
                    <a:solidFill>
                      <a:schemeClr val="tx2"/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Budget</a:t>
                </a:r>
                <a:r>
                  <a:rPr lang="en-IN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 for approval 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3747887E-3442-3A39-D9E8-0B63F344ECAF}"/>
                  </a:ext>
                </a:extLst>
              </p:cNvPr>
              <p:cNvSpPr/>
              <p:nvPr/>
            </p:nvSpPr>
            <p:spPr>
              <a:xfrm>
                <a:off x="1889411" y="1700979"/>
                <a:ext cx="3714976" cy="242844"/>
              </a:xfrm>
              <a:prstGeom prst="rect">
                <a:avLst/>
              </a:prstGeom>
            </p:spPr>
            <p:txBody>
              <a:bodyPr wrap="square" lIns="0" tIns="0" rIns="0" bIns="0" anchor="b">
                <a:noAutofit/>
              </a:bodyPr>
              <a:lstStyle/>
              <a:p>
                <a:pPr algn="ctr"/>
                <a:r>
                  <a:rPr lang="en-IN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ea typeface="Open Sans"/>
                    <a:cs typeface="Open Sans"/>
                  </a:rPr>
                  <a:t>117K AED</a:t>
                </a: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7B9A05A-F780-1C30-44F4-891775BB8672}"/>
                </a:ext>
              </a:extLst>
            </p:cNvPr>
            <p:cNvGrpSpPr/>
            <p:nvPr/>
          </p:nvGrpSpPr>
          <p:grpSpPr>
            <a:xfrm>
              <a:off x="3241322" y="2326035"/>
              <a:ext cx="1789471" cy="1016933"/>
              <a:chOff x="1889411" y="1700979"/>
              <a:chExt cx="3714976" cy="1016933"/>
            </a:xfrm>
          </p:grpSpPr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85D6CA5F-6F48-E97E-583A-144367E82368}"/>
                  </a:ext>
                </a:extLst>
              </p:cNvPr>
              <p:cNvSpPr/>
              <p:nvPr/>
            </p:nvSpPr>
            <p:spPr>
              <a:xfrm>
                <a:off x="1889411" y="2036185"/>
                <a:ext cx="3714976" cy="681727"/>
              </a:xfrm>
              <a:prstGeom prst="rect">
                <a:avLst/>
              </a:prstGeom>
            </p:spPr>
            <p:txBody>
              <a:bodyPr wrap="square" lIns="0" tIns="0" rIns="0" bIns="0" anchor="t">
                <a:noAutofit/>
              </a:bodyPr>
              <a:lstStyle/>
              <a:p>
                <a:pPr algn="ctr"/>
                <a:r>
                  <a:rPr lang="en-IN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Estimate no. of </a:t>
                </a:r>
                <a:r>
                  <a:rPr lang="en-IN" sz="1400" b="1" dirty="0">
                    <a:solidFill>
                      <a:schemeClr val="accent3">
                        <a:lumMod val="60000"/>
                        <a:lumOff val="40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Sessions</a:t>
                </a:r>
                <a:r>
                  <a:rPr lang="en-IN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 to be conducted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4BD02F2B-9904-6F86-9BC4-9515C4C4CF97}"/>
                  </a:ext>
                </a:extLst>
              </p:cNvPr>
              <p:cNvSpPr/>
              <p:nvPr/>
            </p:nvSpPr>
            <p:spPr>
              <a:xfrm>
                <a:off x="1889411" y="1700979"/>
                <a:ext cx="3714976" cy="242844"/>
              </a:xfrm>
              <a:prstGeom prst="rect">
                <a:avLst/>
              </a:prstGeom>
            </p:spPr>
            <p:txBody>
              <a:bodyPr wrap="square" lIns="0" tIns="0" rIns="0" bIns="0" anchor="b">
                <a:noAutofit/>
              </a:bodyPr>
              <a:lstStyle/>
              <a:p>
                <a:pPr algn="ctr"/>
                <a:r>
                  <a:rPr lang="en-IN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50-55</a:t>
                </a:r>
              </a:p>
            </p:txBody>
          </p:sp>
        </p:grp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440F219F-5D76-83D7-08B1-EF049B717622}"/>
                </a:ext>
              </a:extLst>
            </p:cNvPr>
            <p:cNvSpPr/>
            <p:nvPr/>
          </p:nvSpPr>
          <p:spPr>
            <a:xfrm>
              <a:off x="1253537" y="3804100"/>
              <a:ext cx="947232" cy="947232"/>
            </a:xfrm>
            <a:prstGeom prst="ellipse">
              <a:avLst/>
            </a:prstGeom>
            <a:gradFill>
              <a:gsLst>
                <a:gs pos="100000">
                  <a:schemeClr val="accent4">
                    <a:lumMod val="75000"/>
                  </a:schemeClr>
                </a:gs>
                <a:gs pos="0">
                  <a:schemeClr val="accent4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1BB052A3-1B3D-74E0-7F57-4FB1AE15E53E}"/>
                </a:ext>
              </a:extLst>
            </p:cNvPr>
            <p:cNvSpPr/>
            <p:nvPr/>
          </p:nvSpPr>
          <p:spPr>
            <a:xfrm>
              <a:off x="3662440" y="3804100"/>
              <a:ext cx="947232" cy="947232"/>
            </a:xfrm>
            <a:prstGeom prst="ellipse">
              <a:avLst/>
            </a:prstGeom>
            <a:gradFill>
              <a:gsLst>
                <a:gs pos="100000">
                  <a:schemeClr val="accent5">
                    <a:lumMod val="75000"/>
                  </a:schemeClr>
                </a:gs>
                <a:gs pos="0">
                  <a:schemeClr val="accent5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8164A06-EF8B-6796-88C3-A089E06726C5}"/>
                </a:ext>
              </a:extLst>
            </p:cNvPr>
            <p:cNvGrpSpPr/>
            <p:nvPr/>
          </p:nvGrpSpPr>
          <p:grpSpPr>
            <a:xfrm>
              <a:off x="832419" y="5183378"/>
              <a:ext cx="1999322" cy="1018338"/>
              <a:chOff x="1889411" y="1834787"/>
              <a:chExt cx="4150630" cy="1018338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FD3ECC2D-9433-8A4E-26FC-BB6A0AEF351B}"/>
                  </a:ext>
                </a:extLst>
              </p:cNvPr>
              <p:cNvSpPr/>
              <p:nvPr/>
            </p:nvSpPr>
            <p:spPr>
              <a:xfrm>
                <a:off x="1889411" y="2171398"/>
                <a:ext cx="4150630" cy="681727"/>
              </a:xfrm>
              <a:prstGeom prst="rect">
                <a:avLst/>
              </a:prstGeom>
            </p:spPr>
            <p:txBody>
              <a:bodyPr wrap="square" lIns="0" tIns="0" rIns="0" bIns="0" anchor="t">
                <a:noAutofit/>
              </a:bodyPr>
              <a:lstStyle/>
              <a:p>
                <a:pPr algn="ctr"/>
                <a:r>
                  <a:rPr lang="en-IN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Post Session Feedback/Knowledge Transfer Survey 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286C92E2-60AE-9A33-EE16-2616B77E70F9}"/>
                  </a:ext>
                </a:extLst>
              </p:cNvPr>
              <p:cNvSpPr/>
              <p:nvPr/>
            </p:nvSpPr>
            <p:spPr>
              <a:xfrm>
                <a:off x="1908622" y="1834787"/>
                <a:ext cx="3714976" cy="242844"/>
              </a:xfrm>
              <a:prstGeom prst="rect">
                <a:avLst/>
              </a:prstGeom>
            </p:spPr>
            <p:txBody>
              <a:bodyPr wrap="square" lIns="0" tIns="0" rIns="0" bIns="0" anchor="b">
                <a:noAutofit/>
              </a:bodyPr>
              <a:lstStyle/>
              <a:p>
                <a:pPr algn="ctr"/>
                <a:r>
                  <a:rPr lang="en-IN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Success Measure</a:t>
                </a: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948FE54-9365-BC9A-A494-EDBBA2E68017}"/>
                </a:ext>
              </a:extLst>
            </p:cNvPr>
            <p:cNvGrpSpPr/>
            <p:nvPr/>
          </p:nvGrpSpPr>
          <p:grpSpPr>
            <a:xfrm>
              <a:off x="2972967" y="5049570"/>
              <a:ext cx="2312412" cy="1156079"/>
              <a:chOff x="1332299" y="1700979"/>
              <a:chExt cx="4800611" cy="1156079"/>
            </a:xfrm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EFC138F8-21B9-C090-0BF9-E8835ADF2125}"/>
                  </a:ext>
                </a:extLst>
              </p:cNvPr>
              <p:cNvSpPr/>
              <p:nvPr/>
            </p:nvSpPr>
            <p:spPr>
              <a:xfrm>
                <a:off x="1332299" y="2175331"/>
                <a:ext cx="4800611" cy="681727"/>
              </a:xfrm>
              <a:prstGeom prst="rect">
                <a:avLst/>
              </a:prstGeom>
            </p:spPr>
            <p:txBody>
              <a:bodyPr wrap="square" lIns="0" tIns="0" rIns="0" bIns="0" anchor="t">
                <a:noAutofit/>
              </a:bodyPr>
              <a:lstStyle/>
              <a:p>
                <a:pPr algn="ctr"/>
                <a:r>
                  <a:rPr lang="en-IN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Target Audience</a:t>
                </a:r>
              </a:p>
              <a:p>
                <a:pPr algn="ctr"/>
                <a:r>
                  <a:rPr lang="en-IN" sz="1400" b="1" dirty="0">
                    <a:solidFill>
                      <a:schemeClr val="accent5">
                        <a:lumMod val="7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Bands</a:t>
                </a:r>
                <a:r>
                  <a:rPr lang="en-IN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 H-L 2024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66A9E8A4-0BF6-E183-54BA-F0573BC9A151}"/>
                  </a:ext>
                </a:extLst>
              </p:cNvPr>
              <p:cNvSpPr/>
              <p:nvPr/>
            </p:nvSpPr>
            <p:spPr>
              <a:xfrm>
                <a:off x="1889411" y="1700979"/>
                <a:ext cx="3714976" cy="242844"/>
              </a:xfrm>
              <a:prstGeom prst="rect">
                <a:avLst/>
              </a:prstGeom>
            </p:spPr>
            <p:txBody>
              <a:bodyPr wrap="square" lIns="0" tIns="0" rIns="0" bIns="0" anchor="b">
                <a:noAutofit/>
              </a:bodyPr>
              <a:lstStyle/>
              <a:p>
                <a:pPr algn="ctr"/>
                <a:r>
                  <a:rPr lang="en-IN" b="1" dirty="0">
                    <a:ea typeface="Open Sans" panose="020B0606030504020204" pitchFamily="34" charset="0"/>
                    <a:cs typeface="Open Sans" panose="020B0606030504020204" pitchFamily="34" charset="0"/>
                  </a:rPr>
                  <a:t>510</a:t>
                </a:r>
              </a:p>
            </p:txBody>
          </p:sp>
        </p:grpSp>
        <p:pic>
          <p:nvPicPr>
            <p:cNvPr id="88" name="Graphic 87" descr="Hierarchy with solid fill">
              <a:extLst>
                <a:ext uri="{FF2B5EF4-FFF2-40B4-BE49-F238E27FC236}">
                  <a16:creationId xmlns:a16="http://schemas.microsoft.com/office/drawing/2014/main" id="{C7D68BDA-EFE6-6C1D-F91E-DA919787282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73907" y="4015567"/>
              <a:ext cx="524298" cy="524298"/>
            </a:xfrm>
            <a:prstGeom prst="rect">
              <a:avLst/>
            </a:prstGeom>
          </p:spPr>
        </p:pic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1337BDC6-2D37-C85D-109B-2EBEDB53088F}"/>
                </a:ext>
              </a:extLst>
            </p:cNvPr>
            <p:cNvGrpSpPr/>
            <p:nvPr/>
          </p:nvGrpSpPr>
          <p:grpSpPr>
            <a:xfrm>
              <a:off x="1475927" y="4078622"/>
              <a:ext cx="502452" cy="398188"/>
              <a:chOff x="1060233" y="4374407"/>
              <a:chExt cx="338297" cy="268098"/>
            </a:xfrm>
            <a:solidFill>
              <a:schemeClr val="bg1"/>
            </a:solidFill>
          </p:grpSpPr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A708389-11DA-57BA-B94A-B896FFFE387B}"/>
                  </a:ext>
                </a:extLst>
              </p:cNvPr>
              <p:cNvSpPr/>
              <p:nvPr/>
            </p:nvSpPr>
            <p:spPr>
              <a:xfrm>
                <a:off x="1126988" y="4374407"/>
                <a:ext cx="57216" cy="57216"/>
              </a:xfrm>
              <a:custGeom>
                <a:avLst/>
                <a:gdLst>
                  <a:gd name="connsiteX0" fmla="*/ 148209 w 148209"/>
                  <a:gd name="connsiteY0" fmla="*/ 74104 h 148209"/>
                  <a:gd name="connsiteX1" fmla="*/ 74105 w 148209"/>
                  <a:gd name="connsiteY1" fmla="*/ 148209 h 148209"/>
                  <a:gd name="connsiteX2" fmla="*/ 0 w 148209"/>
                  <a:gd name="connsiteY2" fmla="*/ 74104 h 148209"/>
                  <a:gd name="connsiteX3" fmla="*/ 74105 w 148209"/>
                  <a:gd name="connsiteY3" fmla="*/ 0 h 148209"/>
                  <a:gd name="connsiteX4" fmla="*/ 148209 w 148209"/>
                  <a:gd name="connsiteY4" fmla="*/ 74104 h 1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209" h="148209">
                    <a:moveTo>
                      <a:pt x="148209" y="74104"/>
                    </a:moveTo>
                    <a:cubicBezTo>
                      <a:pt x="148209" y="115031"/>
                      <a:pt x="115031" y="148209"/>
                      <a:pt x="74105" y="148209"/>
                    </a:cubicBezTo>
                    <a:cubicBezTo>
                      <a:pt x="33178" y="148209"/>
                      <a:pt x="0" y="115031"/>
                      <a:pt x="0" y="74104"/>
                    </a:cubicBezTo>
                    <a:cubicBezTo>
                      <a:pt x="0" y="33178"/>
                      <a:pt x="33178" y="0"/>
                      <a:pt x="74105" y="0"/>
                    </a:cubicBezTo>
                    <a:cubicBezTo>
                      <a:pt x="115031" y="0"/>
                      <a:pt x="148209" y="33178"/>
                      <a:pt x="148209" y="7410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C40252E4-36C4-F5FC-F557-77315109F5EA}"/>
                  </a:ext>
                </a:extLst>
              </p:cNvPr>
              <p:cNvSpPr/>
              <p:nvPr/>
            </p:nvSpPr>
            <p:spPr>
              <a:xfrm>
                <a:off x="1279553" y="4374407"/>
                <a:ext cx="57216" cy="57216"/>
              </a:xfrm>
              <a:custGeom>
                <a:avLst/>
                <a:gdLst>
                  <a:gd name="connsiteX0" fmla="*/ 148209 w 148209"/>
                  <a:gd name="connsiteY0" fmla="*/ 74104 h 148209"/>
                  <a:gd name="connsiteX1" fmla="*/ 74105 w 148209"/>
                  <a:gd name="connsiteY1" fmla="*/ 148209 h 148209"/>
                  <a:gd name="connsiteX2" fmla="*/ 0 w 148209"/>
                  <a:gd name="connsiteY2" fmla="*/ 74104 h 148209"/>
                  <a:gd name="connsiteX3" fmla="*/ 74105 w 148209"/>
                  <a:gd name="connsiteY3" fmla="*/ 0 h 148209"/>
                  <a:gd name="connsiteX4" fmla="*/ 148209 w 148209"/>
                  <a:gd name="connsiteY4" fmla="*/ 74104 h 1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209" h="148209">
                    <a:moveTo>
                      <a:pt x="148209" y="74104"/>
                    </a:moveTo>
                    <a:cubicBezTo>
                      <a:pt x="148209" y="115031"/>
                      <a:pt x="115031" y="148209"/>
                      <a:pt x="74105" y="148209"/>
                    </a:cubicBezTo>
                    <a:cubicBezTo>
                      <a:pt x="33178" y="148209"/>
                      <a:pt x="0" y="115031"/>
                      <a:pt x="0" y="74104"/>
                    </a:cubicBezTo>
                    <a:cubicBezTo>
                      <a:pt x="0" y="33178"/>
                      <a:pt x="33178" y="0"/>
                      <a:pt x="74105" y="0"/>
                    </a:cubicBezTo>
                    <a:cubicBezTo>
                      <a:pt x="115031" y="0"/>
                      <a:pt x="148209" y="33178"/>
                      <a:pt x="148209" y="7410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0F720763-AE0C-A086-8AFD-75D1B0AD80CA}"/>
                  </a:ext>
                </a:extLst>
              </p:cNvPr>
              <p:cNvSpPr/>
              <p:nvPr/>
            </p:nvSpPr>
            <p:spPr>
              <a:xfrm>
                <a:off x="1098376" y="4439382"/>
                <a:ext cx="103589" cy="57290"/>
              </a:xfrm>
              <a:custGeom>
                <a:avLst/>
                <a:gdLst>
                  <a:gd name="connsiteX0" fmla="*/ 10 w 268329"/>
                  <a:gd name="connsiteY0" fmla="*/ 73819 h 148399"/>
                  <a:gd name="connsiteX1" fmla="*/ 10 w 268329"/>
                  <a:gd name="connsiteY1" fmla="*/ 148400 h 148399"/>
                  <a:gd name="connsiteX2" fmla="*/ 164316 w 268329"/>
                  <a:gd name="connsiteY2" fmla="*/ 148400 h 148399"/>
                  <a:gd name="connsiteX3" fmla="*/ 164316 w 268329"/>
                  <a:gd name="connsiteY3" fmla="*/ 131445 h 148399"/>
                  <a:gd name="connsiteX4" fmla="*/ 192129 w 268329"/>
                  <a:gd name="connsiteY4" fmla="*/ 75534 h 148399"/>
                  <a:gd name="connsiteX5" fmla="*/ 268329 w 268329"/>
                  <a:gd name="connsiteY5" fmla="*/ 37434 h 148399"/>
                  <a:gd name="connsiteX6" fmla="*/ 264900 w 268329"/>
                  <a:gd name="connsiteY6" fmla="*/ 33528 h 148399"/>
                  <a:gd name="connsiteX7" fmla="*/ 209084 w 268329"/>
                  <a:gd name="connsiteY7" fmla="*/ 9525 h 148399"/>
                  <a:gd name="connsiteX8" fmla="*/ 148219 w 268329"/>
                  <a:gd name="connsiteY8" fmla="*/ 0 h 148399"/>
                  <a:gd name="connsiteX9" fmla="*/ 87259 w 268329"/>
                  <a:gd name="connsiteY9" fmla="*/ 9525 h 148399"/>
                  <a:gd name="connsiteX10" fmla="*/ 14774 w 268329"/>
                  <a:gd name="connsiteY10" fmla="*/ 44101 h 148399"/>
                  <a:gd name="connsiteX11" fmla="*/ 10 w 268329"/>
                  <a:gd name="connsiteY11" fmla="*/ 73819 h 148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8329" h="148399">
                    <a:moveTo>
                      <a:pt x="10" y="73819"/>
                    </a:moveTo>
                    <a:lnTo>
                      <a:pt x="10" y="148400"/>
                    </a:lnTo>
                    <a:lnTo>
                      <a:pt x="164316" y="148400"/>
                    </a:lnTo>
                    <a:lnTo>
                      <a:pt x="164316" y="131445"/>
                    </a:lnTo>
                    <a:cubicBezTo>
                      <a:pt x="164040" y="109416"/>
                      <a:pt x="174393" y="88603"/>
                      <a:pt x="192129" y="75534"/>
                    </a:cubicBezTo>
                    <a:cubicBezTo>
                      <a:pt x="214697" y="57820"/>
                      <a:pt x="240618" y="44859"/>
                      <a:pt x="268329" y="37434"/>
                    </a:cubicBezTo>
                    <a:lnTo>
                      <a:pt x="264900" y="33528"/>
                    </a:lnTo>
                    <a:cubicBezTo>
                      <a:pt x="247565" y="22847"/>
                      <a:pt x="228760" y="14760"/>
                      <a:pt x="209084" y="9525"/>
                    </a:cubicBezTo>
                    <a:cubicBezTo>
                      <a:pt x="189421" y="3175"/>
                      <a:pt x="168881" y="-40"/>
                      <a:pt x="148219" y="0"/>
                    </a:cubicBezTo>
                    <a:cubicBezTo>
                      <a:pt x="127573" y="540"/>
                      <a:pt x="107084" y="3741"/>
                      <a:pt x="87259" y="9525"/>
                    </a:cubicBezTo>
                    <a:cubicBezTo>
                      <a:pt x="60879" y="15667"/>
                      <a:pt x="36148" y="27465"/>
                      <a:pt x="14774" y="44101"/>
                    </a:cubicBezTo>
                    <a:cubicBezTo>
                      <a:pt x="5257" y="50971"/>
                      <a:pt x="-265" y="62086"/>
                      <a:pt x="10" y="738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183FAFBD-4EBA-70E9-8288-43FB2985F1ED}"/>
                  </a:ext>
                </a:extLst>
              </p:cNvPr>
              <p:cNvSpPr/>
              <p:nvPr/>
            </p:nvSpPr>
            <p:spPr>
              <a:xfrm>
                <a:off x="1261682" y="4439382"/>
                <a:ext cx="103732" cy="57290"/>
              </a:xfrm>
              <a:custGeom>
                <a:avLst/>
                <a:gdLst>
                  <a:gd name="connsiteX0" fmla="*/ 104013 w 268700"/>
                  <a:gd name="connsiteY0" fmla="*/ 148401 h 148400"/>
                  <a:gd name="connsiteX1" fmla="*/ 268700 w 268700"/>
                  <a:gd name="connsiteY1" fmla="*/ 148401 h 148400"/>
                  <a:gd name="connsiteX2" fmla="*/ 268700 w 268700"/>
                  <a:gd name="connsiteY2" fmla="*/ 73820 h 148400"/>
                  <a:gd name="connsiteX3" fmla="*/ 253841 w 268700"/>
                  <a:gd name="connsiteY3" fmla="*/ 44102 h 148400"/>
                  <a:gd name="connsiteX4" fmla="*/ 181356 w 268700"/>
                  <a:gd name="connsiteY4" fmla="*/ 9526 h 148400"/>
                  <a:gd name="connsiteX5" fmla="*/ 120396 w 268700"/>
                  <a:gd name="connsiteY5" fmla="*/ 1 h 148400"/>
                  <a:gd name="connsiteX6" fmla="*/ 59531 w 268700"/>
                  <a:gd name="connsiteY6" fmla="*/ 9526 h 148400"/>
                  <a:gd name="connsiteX7" fmla="*/ 5429 w 268700"/>
                  <a:gd name="connsiteY7" fmla="*/ 31339 h 148400"/>
                  <a:gd name="connsiteX8" fmla="*/ 0 w 268700"/>
                  <a:gd name="connsiteY8" fmla="*/ 37530 h 148400"/>
                  <a:gd name="connsiteX9" fmla="*/ 74962 w 268700"/>
                  <a:gd name="connsiteY9" fmla="*/ 74677 h 148400"/>
                  <a:gd name="connsiteX10" fmla="*/ 76200 w 268700"/>
                  <a:gd name="connsiteY10" fmla="*/ 75535 h 148400"/>
                  <a:gd name="connsiteX11" fmla="*/ 77248 w 268700"/>
                  <a:gd name="connsiteY11" fmla="*/ 76487 h 148400"/>
                  <a:gd name="connsiteX12" fmla="*/ 104013 w 268700"/>
                  <a:gd name="connsiteY12" fmla="*/ 131446 h 148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8700" h="148400">
                    <a:moveTo>
                      <a:pt x="104013" y="148401"/>
                    </a:moveTo>
                    <a:lnTo>
                      <a:pt x="268700" y="148401"/>
                    </a:lnTo>
                    <a:lnTo>
                      <a:pt x="268700" y="73820"/>
                    </a:lnTo>
                    <a:cubicBezTo>
                      <a:pt x="268555" y="62163"/>
                      <a:pt x="263081" y="51213"/>
                      <a:pt x="253841" y="44102"/>
                    </a:cubicBezTo>
                    <a:cubicBezTo>
                      <a:pt x="231916" y="28379"/>
                      <a:pt x="207373" y="16673"/>
                      <a:pt x="181356" y="9526"/>
                    </a:cubicBezTo>
                    <a:cubicBezTo>
                      <a:pt x="161670" y="3138"/>
                      <a:pt x="141093" y="-78"/>
                      <a:pt x="120396" y="1"/>
                    </a:cubicBezTo>
                    <a:cubicBezTo>
                      <a:pt x="99783" y="548"/>
                      <a:pt x="79326" y="3750"/>
                      <a:pt x="59531" y="9526"/>
                    </a:cubicBezTo>
                    <a:cubicBezTo>
                      <a:pt x="40551" y="14184"/>
                      <a:pt x="22333" y="21530"/>
                      <a:pt x="5429" y="31339"/>
                    </a:cubicBezTo>
                    <a:cubicBezTo>
                      <a:pt x="3715" y="33434"/>
                      <a:pt x="1905" y="35530"/>
                      <a:pt x="0" y="37530"/>
                    </a:cubicBezTo>
                    <a:cubicBezTo>
                      <a:pt x="26786" y="45892"/>
                      <a:pt x="52085" y="58429"/>
                      <a:pt x="74962" y="74677"/>
                    </a:cubicBezTo>
                    <a:lnTo>
                      <a:pt x="76200" y="75535"/>
                    </a:lnTo>
                    <a:lnTo>
                      <a:pt x="77248" y="76487"/>
                    </a:lnTo>
                    <a:cubicBezTo>
                      <a:pt x="94119" y="89738"/>
                      <a:pt x="103983" y="109993"/>
                      <a:pt x="104013" y="13144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B88EA1DD-C2EB-3201-6ADA-EA8B8A1C1C17}"/>
                  </a:ext>
                </a:extLst>
              </p:cNvPr>
              <p:cNvSpPr/>
              <p:nvPr/>
            </p:nvSpPr>
            <p:spPr>
              <a:xfrm>
                <a:off x="1174640" y="4461665"/>
                <a:ext cx="114474" cy="57070"/>
              </a:xfrm>
              <a:custGeom>
                <a:avLst/>
                <a:gdLst>
                  <a:gd name="connsiteX0" fmla="*/ 12 w 296525"/>
                  <a:gd name="connsiteY0" fmla="*/ 147830 h 147829"/>
                  <a:gd name="connsiteX1" fmla="*/ 12 w 296525"/>
                  <a:gd name="connsiteY1" fmla="*/ 73725 h 147829"/>
                  <a:gd name="connsiteX2" fmla="*/ 14871 w 296525"/>
                  <a:gd name="connsiteY2" fmla="*/ 44102 h 147829"/>
                  <a:gd name="connsiteX3" fmla="*/ 87356 w 296525"/>
                  <a:gd name="connsiteY3" fmla="*/ 9527 h 147829"/>
                  <a:gd name="connsiteX4" fmla="*/ 148316 w 296525"/>
                  <a:gd name="connsiteY4" fmla="*/ 2 h 147829"/>
                  <a:gd name="connsiteX5" fmla="*/ 209181 w 296525"/>
                  <a:gd name="connsiteY5" fmla="*/ 9527 h 147829"/>
                  <a:gd name="connsiteX6" fmla="*/ 281666 w 296525"/>
                  <a:gd name="connsiteY6" fmla="*/ 44102 h 147829"/>
                  <a:gd name="connsiteX7" fmla="*/ 296525 w 296525"/>
                  <a:gd name="connsiteY7" fmla="*/ 73725 h 147829"/>
                  <a:gd name="connsiteX8" fmla="*/ 296525 w 296525"/>
                  <a:gd name="connsiteY8" fmla="*/ 147830 h 147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6525" h="147829">
                    <a:moveTo>
                      <a:pt x="12" y="147830"/>
                    </a:moveTo>
                    <a:lnTo>
                      <a:pt x="12" y="73725"/>
                    </a:lnTo>
                    <a:cubicBezTo>
                      <a:pt x="-293" y="61989"/>
                      <a:pt x="5281" y="50876"/>
                      <a:pt x="14871" y="44102"/>
                    </a:cubicBezTo>
                    <a:cubicBezTo>
                      <a:pt x="36222" y="27429"/>
                      <a:pt x="60962" y="15628"/>
                      <a:pt x="87356" y="9527"/>
                    </a:cubicBezTo>
                    <a:cubicBezTo>
                      <a:pt x="107172" y="3697"/>
                      <a:pt x="127667" y="495"/>
                      <a:pt x="148316" y="2"/>
                    </a:cubicBezTo>
                    <a:cubicBezTo>
                      <a:pt x="168983" y="-85"/>
                      <a:pt x="189530" y="3131"/>
                      <a:pt x="209181" y="9527"/>
                    </a:cubicBezTo>
                    <a:cubicBezTo>
                      <a:pt x="235227" y="16593"/>
                      <a:pt x="259783" y="28307"/>
                      <a:pt x="281666" y="44102"/>
                    </a:cubicBezTo>
                    <a:cubicBezTo>
                      <a:pt x="290993" y="51098"/>
                      <a:pt x="296496" y="62067"/>
                      <a:pt x="296525" y="73725"/>
                    </a:cubicBezTo>
                    <a:lnTo>
                      <a:pt x="296525" y="14783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C6197F6F-71A8-7DED-646E-2B697FDF7BB9}"/>
                  </a:ext>
                </a:extLst>
              </p:cNvPr>
              <p:cNvSpPr/>
              <p:nvPr/>
            </p:nvSpPr>
            <p:spPr>
              <a:xfrm>
                <a:off x="1203289" y="4396654"/>
                <a:ext cx="57216" cy="57216"/>
              </a:xfrm>
              <a:custGeom>
                <a:avLst/>
                <a:gdLst>
                  <a:gd name="connsiteX0" fmla="*/ 148209 w 148209"/>
                  <a:gd name="connsiteY0" fmla="*/ 74105 h 148209"/>
                  <a:gd name="connsiteX1" fmla="*/ 74105 w 148209"/>
                  <a:gd name="connsiteY1" fmla="*/ 148209 h 148209"/>
                  <a:gd name="connsiteX2" fmla="*/ 0 w 148209"/>
                  <a:gd name="connsiteY2" fmla="*/ 74105 h 148209"/>
                  <a:gd name="connsiteX3" fmla="*/ 74105 w 148209"/>
                  <a:gd name="connsiteY3" fmla="*/ 0 h 148209"/>
                  <a:gd name="connsiteX4" fmla="*/ 148209 w 148209"/>
                  <a:gd name="connsiteY4" fmla="*/ 74105 h 1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209" h="148209">
                    <a:moveTo>
                      <a:pt x="148209" y="74105"/>
                    </a:moveTo>
                    <a:cubicBezTo>
                      <a:pt x="148209" y="115031"/>
                      <a:pt x="115031" y="148209"/>
                      <a:pt x="74105" y="148209"/>
                    </a:cubicBezTo>
                    <a:cubicBezTo>
                      <a:pt x="33178" y="148209"/>
                      <a:pt x="0" y="115031"/>
                      <a:pt x="0" y="74105"/>
                    </a:cubicBezTo>
                    <a:cubicBezTo>
                      <a:pt x="0" y="33178"/>
                      <a:pt x="33178" y="0"/>
                      <a:pt x="74105" y="0"/>
                    </a:cubicBezTo>
                    <a:cubicBezTo>
                      <a:pt x="115031" y="0"/>
                      <a:pt x="148209" y="33178"/>
                      <a:pt x="148209" y="741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" name="Graphic 174" descr="Rating 3 Star with solid fill">
                <a:extLst>
                  <a:ext uri="{FF2B5EF4-FFF2-40B4-BE49-F238E27FC236}">
                    <a16:creationId xmlns:a16="http://schemas.microsoft.com/office/drawing/2014/main" id="{371471BD-12B9-BEE3-C0B1-3EDDE64B2F1D}"/>
                  </a:ext>
                </a:extLst>
              </p:cNvPr>
              <p:cNvSpPr/>
              <p:nvPr/>
            </p:nvSpPr>
            <p:spPr>
              <a:xfrm>
                <a:off x="1060233" y="4528514"/>
                <a:ext cx="338297" cy="113991"/>
              </a:xfrm>
              <a:custGeom>
                <a:avLst/>
                <a:gdLst>
                  <a:gd name="connsiteX0" fmla="*/ 338297 w 338297"/>
                  <a:gd name="connsiteY0" fmla="*/ 42747 h 113991"/>
                  <a:gd name="connsiteX1" fmla="*/ 295551 w 338297"/>
                  <a:gd name="connsiteY1" fmla="*/ 42747 h 113991"/>
                  <a:gd name="connsiteX2" fmla="*/ 281302 w 338297"/>
                  <a:gd name="connsiteY2" fmla="*/ 0 h 113991"/>
                  <a:gd name="connsiteX3" fmla="*/ 267053 w 338297"/>
                  <a:gd name="connsiteY3" fmla="*/ 42747 h 113991"/>
                  <a:gd name="connsiteX4" fmla="*/ 226144 w 338297"/>
                  <a:gd name="connsiteY4" fmla="*/ 42747 h 113991"/>
                  <a:gd name="connsiteX5" fmla="*/ 224306 w 338297"/>
                  <a:gd name="connsiteY5" fmla="*/ 42747 h 113991"/>
                  <a:gd name="connsiteX6" fmla="*/ 183398 w 338297"/>
                  <a:gd name="connsiteY6" fmla="*/ 42747 h 113991"/>
                  <a:gd name="connsiteX7" fmla="*/ 169149 w 338297"/>
                  <a:gd name="connsiteY7" fmla="*/ 0 h 113991"/>
                  <a:gd name="connsiteX8" fmla="*/ 154900 w 338297"/>
                  <a:gd name="connsiteY8" fmla="*/ 42747 h 113991"/>
                  <a:gd name="connsiteX9" fmla="*/ 113992 w 338297"/>
                  <a:gd name="connsiteY9" fmla="*/ 42747 h 113991"/>
                  <a:gd name="connsiteX10" fmla="*/ 112153 w 338297"/>
                  <a:gd name="connsiteY10" fmla="*/ 42747 h 113991"/>
                  <a:gd name="connsiteX11" fmla="*/ 71245 w 338297"/>
                  <a:gd name="connsiteY11" fmla="*/ 42747 h 113991"/>
                  <a:gd name="connsiteX12" fmla="*/ 56996 w 338297"/>
                  <a:gd name="connsiteY12" fmla="*/ 0 h 113991"/>
                  <a:gd name="connsiteX13" fmla="*/ 42747 w 338297"/>
                  <a:gd name="connsiteY13" fmla="*/ 42747 h 113991"/>
                  <a:gd name="connsiteX14" fmla="*/ 0 w 338297"/>
                  <a:gd name="connsiteY14" fmla="*/ 42747 h 113991"/>
                  <a:gd name="connsiteX15" fmla="*/ 32771 w 338297"/>
                  <a:gd name="connsiteY15" fmla="*/ 71245 h 113991"/>
                  <a:gd name="connsiteX16" fmla="*/ 19949 w 338297"/>
                  <a:gd name="connsiteY16" fmla="*/ 113992 h 113991"/>
                  <a:gd name="connsiteX17" fmla="*/ 56996 w 338297"/>
                  <a:gd name="connsiteY17" fmla="*/ 88343 h 113991"/>
                  <a:gd name="connsiteX18" fmla="*/ 94043 w 338297"/>
                  <a:gd name="connsiteY18" fmla="*/ 113992 h 113991"/>
                  <a:gd name="connsiteX19" fmla="*/ 81221 w 338297"/>
                  <a:gd name="connsiteY19" fmla="*/ 71245 h 113991"/>
                  <a:gd name="connsiteX20" fmla="*/ 113072 w 338297"/>
                  <a:gd name="connsiteY20" fmla="*/ 43548 h 113991"/>
                  <a:gd name="connsiteX21" fmla="*/ 144924 w 338297"/>
                  <a:gd name="connsiteY21" fmla="*/ 71245 h 113991"/>
                  <a:gd name="connsiteX22" fmla="*/ 132101 w 338297"/>
                  <a:gd name="connsiteY22" fmla="*/ 113992 h 113991"/>
                  <a:gd name="connsiteX23" fmla="*/ 169149 w 338297"/>
                  <a:gd name="connsiteY23" fmla="*/ 88343 h 113991"/>
                  <a:gd name="connsiteX24" fmla="*/ 206196 w 338297"/>
                  <a:gd name="connsiteY24" fmla="*/ 113992 h 113991"/>
                  <a:gd name="connsiteX25" fmla="*/ 193374 w 338297"/>
                  <a:gd name="connsiteY25" fmla="*/ 71245 h 113991"/>
                  <a:gd name="connsiteX26" fmla="*/ 225225 w 338297"/>
                  <a:gd name="connsiteY26" fmla="*/ 43548 h 113991"/>
                  <a:gd name="connsiteX27" fmla="*/ 257077 w 338297"/>
                  <a:gd name="connsiteY27" fmla="*/ 71245 h 113991"/>
                  <a:gd name="connsiteX28" fmla="*/ 244254 w 338297"/>
                  <a:gd name="connsiteY28" fmla="*/ 113992 h 113991"/>
                  <a:gd name="connsiteX29" fmla="*/ 281302 w 338297"/>
                  <a:gd name="connsiteY29" fmla="*/ 88343 h 113991"/>
                  <a:gd name="connsiteX30" fmla="*/ 318349 w 338297"/>
                  <a:gd name="connsiteY30" fmla="*/ 113992 h 113991"/>
                  <a:gd name="connsiteX31" fmla="*/ 305527 w 338297"/>
                  <a:gd name="connsiteY31" fmla="*/ 71245 h 113991"/>
                  <a:gd name="connsiteX32" fmla="*/ 338297 w 338297"/>
                  <a:gd name="connsiteY32" fmla="*/ 42747 h 113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38297" h="113991">
                    <a:moveTo>
                      <a:pt x="338297" y="42747"/>
                    </a:moveTo>
                    <a:lnTo>
                      <a:pt x="295551" y="42747"/>
                    </a:lnTo>
                    <a:lnTo>
                      <a:pt x="281302" y="0"/>
                    </a:lnTo>
                    <a:lnTo>
                      <a:pt x="267053" y="42747"/>
                    </a:lnTo>
                    <a:lnTo>
                      <a:pt x="226144" y="42747"/>
                    </a:lnTo>
                    <a:lnTo>
                      <a:pt x="224306" y="42747"/>
                    </a:lnTo>
                    <a:lnTo>
                      <a:pt x="183398" y="42747"/>
                    </a:lnTo>
                    <a:lnTo>
                      <a:pt x="169149" y="0"/>
                    </a:lnTo>
                    <a:lnTo>
                      <a:pt x="154900" y="42747"/>
                    </a:lnTo>
                    <a:lnTo>
                      <a:pt x="113992" y="42747"/>
                    </a:lnTo>
                    <a:lnTo>
                      <a:pt x="112153" y="42747"/>
                    </a:lnTo>
                    <a:lnTo>
                      <a:pt x="71245" y="42747"/>
                    </a:lnTo>
                    <a:lnTo>
                      <a:pt x="56996" y="0"/>
                    </a:lnTo>
                    <a:lnTo>
                      <a:pt x="42747" y="42747"/>
                    </a:lnTo>
                    <a:lnTo>
                      <a:pt x="0" y="42747"/>
                    </a:lnTo>
                    <a:lnTo>
                      <a:pt x="32771" y="71245"/>
                    </a:lnTo>
                    <a:lnTo>
                      <a:pt x="19949" y="113992"/>
                    </a:lnTo>
                    <a:lnTo>
                      <a:pt x="56996" y="88343"/>
                    </a:lnTo>
                    <a:lnTo>
                      <a:pt x="94043" y="113992"/>
                    </a:lnTo>
                    <a:lnTo>
                      <a:pt x="81221" y="71245"/>
                    </a:lnTo>
                    <a:lnTo>
                      <a:pt x="113072" y="43548"/>
                    </a:lnTo>
                    <a:lnTo>
                      <a:pt x="144924" y="71245"/>
                    </a:lnTo>
                    <a:lnTo>
                      <a:pt x="132101" y="113992"/>
                    </a:lnTo>
                    <a:lnTo>
                      <a:pt x="169149" y="88343"/>
                    </a:lnTo>
                    <a:lnTo>
                      <a:pt x="206196" y="113992"/>
                    </a:lnTo>
                    <a:lnTo>
                      <a:pt x="193374" y="71245"/>
                    </a:lnTo>
                    <a:lnTo>
                      <a:pt x="225225" y="43548"/>
                    </a:lnTo>
                    <a:lnTo>
                      <a:pt x="257077" y="71245"/>
                    </a:lnTo>
                    <a:lnTo>
                      <a:pt x="244254" y="113992"/>
                    </a:lnTo>
                    <a:lnTo>
                      <a:pt x="281302" y="88343"/>
                    </a:lnTo>
                    <a:lnTo>
                      <a:pt x="318349" y="113992"/>
                    </a:lnTo>
                    <a:lnTo>
                      <a:pt x="305527" y="71245"/>
                    </a:lnTo>
                    <a:lnTo>
                      <a:pt x="338297" y="42747"/>
                    </a:lnTo>
                    <a:close/>
                  </a:path>
                </a:pathLst>
              </a:custGeom>
              <a:grpFill/>
              <a:ln w="36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pic>
          <p:nvPicPr>
            <p:cNvPr id="15" name="Graphic 14" descr="Classroom with solid fill">
              <a:extLst>
                <a:ext uri="{FF2B5EF4-FFF2-40B4-BE49-F238E27FC236}">
                  <a16:creationId xmlns:a16="http://schemas.microsoft.com/office/drawing/2014/main" id="{9EF4CF07-B196-B370-D8E4-7A90E4EE18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875040" y="1291266"/>
              <a:ext cx="548640" cy="548640"/>
            </a:xfrm>
            <a:prstGeom prst="rect">
              <a:avLst/>
            </a:prstGeom>
          </p:spPr>
        </p:pic>
        <p:pic>
          <p:nvPicPr>
            <p:cNvPr id="17" name="Graphic 16" descr="Coins with solid fill">
              <a:extLst>
                <a:ext uri="{FF2B5EF4-FFF2-40B4-BE49-F238E27FC236}">
                  <a16:creationId xmlns:a16="http://schemas.microsoft.com/office/drawing/2014/main" id="{BB7807E2-2CFA-F8B1-27CD-1831659B1D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385246" y="1213008"/>
              <a:ext cx="640080" cy="640080"/>
            </a:xfrm>
            <a:prstGeom prst="rect">
              <a:avLst/>
            </a:prstGeom>
          </p:spPr>
        </p:pic>
      </p:grp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C64BA9E-A2CA-B8A9-A16F-CA921BE57F8F}"/>
              </a:ext>
            </a:extLst>
          </p:cNvPr>
          <p:cNvSpPr/>
          <p:nvPr/>
        </p:nvSpPr>
        <p:spPr>
          <a:xfrm>
            <a:off x="4966259" y="1105742"/>
            <a:ext cx="2232248" cy="2448272"/>
          </a:xfrm>
          <a:prstGeom prst="roundRect">
            <a:avLst>
              <a:gd name="adj" fmla="val 69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B37A7D8-CEA6-5F68-62BC-135119278DEA}"/>
              </a:ext>
            </a:extLst>
          </p:cNvPr>
          <p:cNvSpPr/>
          <p:nvPr/>
        </p:nvSpPr>
        <p:spPr>
          <a:xfrm>
            <a:off x="5608767" y="982904"/>
            <a:ext cx="947232" cy="947232"/>
          </a:xfrm>
          <a:prstGeom prst="ellipse">
            <a:avLst/>
          </a:prstGeom>
          <a:solidFill>
            <a:srgbClr val="66006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E783787-88E7-FBA3-7665-F33D4CF77979}"/>
              </a:ext>
            </a:extLst>
          </p:cNvPr>
          <p:cNvGrpSpPr/>
          <p:nvPr/>
        </p:nvGrpSpPr>
        <p:grpSpPr>
          <a:xfrm>
            <a:off x="5187649" y="2228374"/>
            <a:ext cx="1789471" cy="1016933"/>
            <a:chOff x="1889411" y="1700979"/>
            <a:chExt cx="3714976" cy="101693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C076F07-846D-A447-2C23-DD6EEFB2CFCE}"/>
                </a:ext>
              </a:extLst>
            </p:cNvPr>
            <p:cNvSpPr/>
            <p:nvPr/>
          </p:nvSpPr>
          <p:spPr>
            <a:xfrm>
              <a:off x="1889411" y="2036185"/>
              <a:ext cx="3714976" cy="681727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algn="ctr"/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hase 1: Band H-L</a:t>
              </a:r>
            </a:p>
            <a:p>
              <a:pPr algn="ctr"/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(2024)</a:t>
              </a:r>
            </a:p>
            <a:p>
              <a:pPr algn="ctr"/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hase 2: Band G (2025)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77A82BD-16AB-E228-56AD-927CA5D32D9C}"/>
                </a:ext>
              </a:extLst>
            </p:cNvPr>
            <p:cNvSpPr/>
            <p:nvPr/>
          </p:nvSpPr>
          <p:spPr>
            <a:xfrm>
              <a:off x="1889411" y="1700979"/>
              <a:ext cx="3714976" cy="242844"/>
            </a:xfrm>
            <a:prstGeom prst="rect">
              <a:avLst/>
            </a:prstGeom>
          </p:spPr>
          <p:txBody>
            <a:bodyPr wrap="square" lIns="0" tIns="0" rIns="0" bIns="0" anchor="b">
              <a:noAutofit/>
            </a:bodyPr>
            <a:lstStyle/>
            <a:p>
              <a:pPr algn="ctr"/>
              <a:r>
                <a:rPr lang="en-IN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hase 1 &amp; 2</a:t>
              </a:r>
            </a:p>
          </p:txBody>
        </p:sp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754802AC-2CD3-B90F-7AF0-3C1981959969}"/>
              </a:ext>
            </a:extLst>
          </p:cNvPr>
          <p:cNvSpPr/>
          <p:nvPr/>
        </p:nvSpPr>
        <p:spPr>
          <a:xfrm>
            <a:off x="4954723" y="3852252"/>
            <a:ext cx="2232248" cy="2448272"/>
          </a:xfrm>
          <a:prstGeom prst="roundRect">
            <a:avLst>
              <a:gd name="adj" fmla="val 69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215735A-1FFB-6F99-FCC0-4A7A3DF2C15E}"/>
              </a:ext>
            </a:extLst>
          </p:cNvPr>
          <p:cNvSpPr/>
          <p:nvPr/>
        </p:nvSpPr>
        <p:spPr>
          <a:xfrm>
            <a:off x="5597231" y="3729414"/>
            <a:ext cx="947232" cy="947232"/>
          </a:xfrm>
          <a:prstGeom prst="ellipse">
            <a:avLst/>
          </a:prstGeom>
          <a:solidFill>
            <a:srgbClr val="66006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2A6A17A-F4F3-9563-933F-7D7BF220CAF7}"/>
              </a:ext>
            </a:extLst>
          </p:cNvPr>
          <p:cNvGrpSpPr/>
          <p:nvPr/>
        </p:nvGrpSpPr>
        <p:grpSpPr>
          <a:xfrm>
            <a:off x="5007150" y="4974884"/>
            <a:ext cx="2187513" cy="1136201"/>
            <a:chOff x="1538636" y="1700979"/>
            <a:chExt cx="4541319" cy="1136201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FB94598-14AB-E55F-7EC0-85F8A9DA3FFB}"/>
                </a:ext>
              </a:extLst>
            </p:cNvPr>
            <p:cNvSpPr/>
            <p:nvPr/>
          </p:nvSpPr>
          <p:spPr>
            <a:xfrm>
              <a:off x="1538636" y="2155453"/>
              <a:ext cx="4541319" cy="681727"/>
            </a:xfrm>
            <a:prstGeom prst="rect">
              <a:avLst/>
            </a:prstGeom>
          </p:spPr>
          <p:txBody>
            <a:bodyPr wrap="square" lIns="0" tIns="0" rIns="0" bIns="0" anchor="t">
              <a:noAutofit/>
            </a:bodyPr>
            <a:lstStyle/>
            <a:p>
              <a:pPr algn="ctr"/>
              <a:r>
                <a:rPr lang="en-IN" sz="1400" b="1" dirty="0">
                  <a:solidFill>
                    <a:srgbClr val="660066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Duration </a:t>
              </a: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of the workshop using gamification (boardgame)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3C9C515-B0EF-3967-85A4-6BF128D632DE}"/>
                </a:ext>
              </a:extLst>
            </p:cNvPr>
            <p:cNvSpPr/>
            <p:nvPr/>
          </p:nvSpPr>
          <p:spPr>
            <a:xfrm>
              <a:off x="1889411" y="1700979"/>
              <a:ext cx="3714976" cy="242844"/>
            </a:xfrm>
            <a:prstGeom prst="rect">
              <a:avLst/>
            </a:prstGeom>
          </p:spPr>
          <p:txBody>
            <a:bodyPr wrap="square" lIns="0" tIns="0" rIns="0" bIns="0" anchor="b">
              <a:noAutofit/>
            </a:bodyPr>
            <a:lstStyle/>
            <a:p>
              <a:pPr algn="ctr"/>
              <a:r>
                <a:rPr lang="en-IN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3 Hours</a:t>
              </a:r>
            </a:p>
          </p:txBody>
        </p:sp>
      </p:grpSp>
      <p:pic>
        <p:nvPicPr>
          <p:cNvPr id="34" name="Graphic 33" descr="Stopwatch with solid fill">
            <a:extLst>
              <a:ext uri="{FF2B5EF4-FFF2-40B4-BE49-F238E27FC236}">
                <a16:creationId xmlns:a16="http://schemas.microsoft.com/office/drawing/2014/main" id="{EE28B2C9-58B4-728E-5DAA-D9A676F5A33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798781" y="3916159"/>
            <a:ext cx="548640" cy="548640"/>
          </a:xfrm>
          <a:prstGeom prst="rect">
            <a:avLst/>
          </a:prstGeom>
        </p:spPr>
      </p:pic>
      <p:pic>
        <p:nvPicPr>
          <p:cNvPr id="38" name="Graphic 37" descr="Map with pin with solid fill">
            <a:extLst>
              <a:ext uri="{FF2B5EF4-FFF2-40B4-BE49-F238E27FC236}">
                <a16:creationId xmlns:a16="http://schemas.microsoft.com/office/drawing/2014/main" id="{C7E1AA19-FADB-E2FB-CB3F-987F0CAFD66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652821" y="1100551"/>
            <a:ext cx="548640" cy="54864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D86C95D-F472-3036-3BC6-A3922481B933}"/>
              </a:ext>
            </a:extLst>
          </p:cNvPr>
          <p:cNvCxnSpPr>
            <a:cxnSpLocks/>
          </p:cNvCxnSpPr>
          <p:nvPr/>
        </p:nvCxnSpPr>
        <p:spPr>
          <a:xfrm>
            <a:off x="-49360" y="635965"/>
            <a:ext cx="12241360" cy="0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/>
        </p:spPr>
      </p:cxnSp>
      <p:pic>
        <p:nvPicPr>
          <p:cNvPr id="26" name="Graphic 25" descr="Signpost with solid fill">
            <a:extLst>
              <a:ext uri="{FF2B5EF4-FFF2-40B4-BE49-F238E27FC236}">
                <a16:creationId xmlns:a16="http://schemas.microsoft.com/office/drawing/2014/main" id="{8E466DBE-E588-BF19-CD7A-E916D6F0A0A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736635" y="1151635"/>
            <a:ext cx="640080" cy="6400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E40A8E2-271D-6E51-DD75-0BB07A0832DD}"/>
              </a:ext>
            </a:extLst>
          </p:cNvPr>
          <p:cNvSpPr txBox="1"/>
          <p:nvPr/>
        </p:nvSpPr>
        <p:spPr>
          <a:xfrm>
            <a:off x="47486" y="6297432"/>
            <a:ext cx="29594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3"/>
                </a:solidFill>
              </a:rPr>
              <a:t>Awareness I Knowledge I Cascade</a:t>
            </a:r>
          </a:p>
        </p:txBody>
      </p:sp>
    </p:spTree>
    <p:extLst>
      <p:ext uri="{BB962C8B-B14F-4D97-AF65-F5344CB8AC3E}">
        <p14:creationId xmlns:p14="http://schemas.microsoft.com/office/powerpoint/2010/main" val="1251361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71DF19DA-78A2-A31D-538A-E0F703E09D7E}"/>
              </a:ext>
            </a:extLst>
          </p:cNvPr>
          <p:cNvSpPr txBox="1"/>
          <p:nvPr/>
        </p:nvSpPr>
        <p:spPr>
          <a:xfrm>
            <a:off x="6179786" y="160093"/>
            <a:ext cx="57977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8987"/>
            <a:r>
              <a:rPr lang="en-US" sz="2800" b="1" dirty="0">
                <a:solidFill>
                  <a:srgbClr val="242424"/>
                </a:solidFill>
                <a:latin typeface="Calibri" panose="020F0502020204030204"/>
              </a:rPr>
              <a:t>Target Audience (UAE + International)</a:t>
            </a:r>
          </a:p>
        </p:txBody>
      </p:sp>
      <p:sp>
        <p:nvSpPr>
          <p:cNvPr id="4" name="Title 11">
            <a:extLst>
              <a:ext uri="{FF2B5EF4-FFF2-40B4-BE49-F238E27FC236}">
                <a16:creationId xmlns:a16="http://schemas.microsoft.com/office/drawing/2014/main" id="{4D2BE931-F26A-1237-E70E-04BD4337226D}"/>
              </a:ext>
            </a:extLst>
          </p:cNvPr>
          <p:cNvSpPr txBox="1">
            <a:spLocks/>
          </p:cNvSpPr>
          <p:nvPr/>
        </p:nvSpPr>
        <p:spPr>
          <a:xfrm>
            <a:off x="94744" y="64592"/>
            <a:ext cx="6299514" cy="715589"/>
          </a:xfrm>
          <a:prstGeom prst="rect">
            <a:avLst/>
          </a:prstGeom>
        </p:spPr>
        <p:txBody>
          <a:bodyPr vert="horz" lIns="0" tIns="60933" rIns="0" bIns="60933" rtlCol="0" anchor="ctr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862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99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Leadership Competencies 101 Workshop -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AB5C162-08E6-B2F6-2497-EEDD23F1C012}"/>
              </a:ext>
            </a:extLst>
          </p:cNvPr>
          <p:cNvCxnSpPr/>
          <p:nvPr/>
        </p:nvCxnSpPr>
        <p:spPr>
          <a:xfrm>
            <a:off x="0" y="780181"/>
            <a:ext cx="12192000" cy="0"/>
          </a:xfrm>
          <a:prstGeom prst="line">
            <a:avLst/>
          </a:prstGeom>
          <a:ln>
            <a:solidFill>
              <a:srgbClr val="1880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Arrow: Left-Right 5">
            <a:extLst>
              <a:ext uri="{FF2B5EF4-FFF2-40B4-BE49-F238E27FC236}">
                <a16:creationId xmlns:a16="http://schemas.microsoft.com/office/drawing/2014/main" id="{8679512D-1A30-D485-342C-C7BC52D7473F}"/>
              </a:ext>
            </a:extLst>
          </p:cNvPr>
          <p:cNvSpPr/>
          <p:nvPr/>
        </p:nvSpPr>
        <p:spPr>
          <a:xfrm>
            <a:off x="590698" y="5101260"/>
            <a:ext cx="7289594" cy="567318"/>
          </a:xfrm>
          <a:prstGeom prst="leftRightArrow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" name="Arrow: Left-Right 6">
            <a:extLst>
              <a:ext uri="{FF2B5EF4-FFF2-40B4-BE49-F238E27FC236}">
                <a16:creationId xmlns:a16="http://schemas.microsoft.com/office/drawing/2014/main" id="{A6DDE0EF-2F63-1B54-4B43-0394B8E63E5C}"/>
              </a:ext>
            </a:extLst>
          </p:cNvPr>
          <p:cNvSpPr/>
          <p:nvPr/>
        </p:nvSpPr>
        <p:spPr>
          <a:xfrm>
            <a:off x="8812811" y="5092169"/>
            <a:ext cx="3190654" cy="640080"/>
          </a:xfrm>
          <a:prstGeom prst="leftRightArrow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02C402-902E-6169-D3A4-34322B32E4AA}"/>
              </a:ext>
            </a:extLst>
          </p:cNvPr>
          <p:cNvSpPr txBox="1"/>
          <p:nvPr/>
        </p:nvSpPr>
        <p:spPr>
          <a:xfrm>
            <a:off x="9785334" y="5224024"/>
            <a:ext cx="19933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hase 2: 202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6747E0-455B-CC56-8540-F53F8A9E9C58}"/>
              </a:ext>
            </a:extLst>
          </p:cNvPr>
          <p:cNvSpPr txBox="1"/>
          <p:nvPr/>
        </p:nvSpPr>
        <p:spPr>
          <a:xfrm>
            <a:off x="3464087" y="5215642"/>
            <a:ext cx="26319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hase 1: 2024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E3F3B1B-D7B7-E964-9AF7-C06CA1F60B2C}"/>
              </a:ext>
            </a:extLst>
          </p:cNvPr>
          <p:cNvGrpSpPr/>
          <p:nvPr/>
        </p:nvGrpSpPr>
        <p:grpSpPr>
          <a:xfrm>
            <a:off x="499621" y="1613824"/>
            <a:ext cx="11420605" cy="3439763"/>
            <a:chOff x="469483" y="1746448"/>
            <a:chExt cx="11420605" cy="3439763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CB4021A-09BA-7319-3C0C-D8BB2901241A}"/>
                </a:ext>
              </a:extLst>
            </p:cNvPr>
            <p:cNvGrpSpPr/>
            <p:nvPr/>
          </p:nvGrpSpPr>
          <p:grpSpPr>
            <a:xfrm>
              <a:off x="4497012" y="1746448"/>
              <a:ext cx="3383280" cy="3017520"/>
              <a:chOff x="4759611" y="2296080"/>
              <a:chExt cx="2548006" cy="2446601"/>
            </a:xfrm>
          </p:grpSpPr>
          <p:sp>
            <p:nvSpPr>
              <p:cNvPr id="3" name="Rectangle: Top Corners Rounded 2">
                <a:extLst>
                  <a:ext uri="{FF2B5EF4-FFF2-40B4-BE49-F238E27FC236}">
                    <a16:creationId xmlns:a16="http://schemas.microsoft.com/office/drawing/2014/main" id="{E3583BB7-1352-A66D-98A3-0C2E06FAE92D}"/>
                  </a:ext>
                </a:extLst>
              </p:cNvPr>
              <p:cNvSpPr/>
              <p:nvPr/>
            </p:nvSpPr>
            <p:spPr>
              <a:xfrm>
                <a:off x="4997312" y="3088169"/>
                <a:ext cx="2087688" cy="1558241"/>
              </a:xfrm>
              <a:prstGeom prst="round2SameRect">
                <a:avLst>
                  <a:gd name="adj1" fmla="val 0"/>
                  <a:gd name="adj2" fmla="val 9563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>
                  <a:defRPr/>
                </a:pPr>
                <a:r>
                  <a:rPr lang="en-IN" sz="2400" b="1" dirty="0">
                    <a:solidFill>
                      <a:srgbClr val="242424"/>
                    </a:solidFill>
                    <a:latin typeface="Calibri" panose="020F0502020204030204"/>
                  </a:rPr>
                  <a:t>Cohort 2</a:t>
                </a:r>
              </a:p>
              <a:p>
                <a:pPr algn="ctr" defTabSz="914126">
                  <a:defRPr/>
                </a:pPr>
                <a:r>
                  <a:rPr lang="en-IN" sz="2400" b="1" dirty="0">
                    <a:solidFill>
                      <a:schemeClr val="accent6"/>
                    </a:solidFill>
                    <a:latin typeface="Calibri" panose="020F0502020204030204"/>
                  </a:rPr>
                  <a:t>Bands H</a:t>
                </a:r>
              </a:p>
              <a:p>
                <a:pPr algn="ctr" defTabSz="914126">
                  <a:defRPr/>
                </a:pPr>
                <a:endParaRPr lang="en-IN" sz="1799" dirty="0">
                  <a:solidFill>
                    <a:srgbClr val="242424"/>
                  </a:solidFill>
                  <a:latin typeface="Calibri" panose="020F0502020204030204"/>
                </a:endParaRPr>
              </a:p>
            </p:txBody>
          </p: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D3D1CEEB-FA94-3BFE-F4AC-BAC4B4FF50FD}"/>
                  </a:ext>
                </a:extLst>
              </p:cNvPr>
              <p:cNvSpPr/>
              <p:nvPr/>
            </p:nvSpPr>
            <p:spPr>
              <a:xfrm>
                <a:off x="4768801" y="2368829"/>
                <a:ext cx="2529627" cy="2373852"/>
              </a:xfrm>
              <a:prstGeom prst="roundRect">
                <a:avLst>
                  <a:gd name="adj" fmla="val 12715"/>
                </a:avLst>
              </a:prstGeom>
              <a:noFill/>
              <a:ln w="2540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IN" sz="1799">
                  <a:solidFill>
                    <a:srgbClr val="242424"/>
                  </a:solidFill>
                  <a:latin typeface="Calibri" panose="020F0502020204030204"/>
                </a:endParaRPr>
              </a:p>
            </p:txBody>
          </p:sp>
          <p:sp>
            <p:nvSpPr>
              <p:cNvPr id="17" name="Rectangle: Top Corners Rounded 16">
                <a:extLst>
                  <a:ext uri="{FF2B5EF4-FFF2-40B4-BE49-F238E27FC236}">
                    <a16:creationId xmlns:a16="http://schemas.microsoft.com/office/drawing/2014/main" id="{4D121FEE-099B-C709-93C8-8898B63E930E}"/>
                  </a:ext>
                </a:extLst>
              </p:cNvPr>
              <p:cNvSpPr/>
              <p:nvPr/>
            </p:nvSpPr>
            <p:spPr>
              <a:xfrm>
                <a:off x="4759611" y="2296080"/>
                <a:ext cx="2548006" cy="740886"/>
              </a:xfrm>
              <a:prstGeom prst="round2SameRect">
                <a:avLst>
                  <a:gd name="adj1" fmla="val 40023"/>
                  <a:gd name="adj2" fmla="val 0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lang="en-US" sz="2800" kern="0" dirty="0">
                    <a:solidFill>
                      <a:srgbClr val="FFFFFF"/>
                    </a:solidFill>
                    <a:latin typeface="Calibri" panose="020F0502020204030204"/>
                  </a:rPr>
                  <a:t>Count= +/- 338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FB1F46CC-5DA1-7893-94CD-163AA1051BA1}"/>
                </a:ext>
              </a:extLst>
            </p:cNvPr>
            <p:cNvGrpSpPr/>
            <p:nvPr/>
          </p:nvGrpSpPr>
          <p:grpSpPr>
            <a:xfrm>
              <a:off x="8506808" y="1796932"/>
              <a:ext cx="3383280" cy="3017520"/>
              <a:chOff x="1979221" y="2318951"/>
              <a:chExt cx="2548006" cy="2373852"/>
            </a:xfrm>
          </p:grpSpPr>
          <p:sp>
            <p:nvSpPr>
              <p:cNvPr id="12" name="Rectangle: Top Corners Rounded 11">
                <a:extLst>
                  <a:ext uri="{FF2B5EF4-FFF2-40B4-BE49-F238E27FC236}">
                    <a16:creationId xmlns:a16="http://schemas.microsoft.com/office/drawing/2014/main" id="{6D501999-421A-8CF0-A286-FD486F7A7832}"/>
                  </a:ext>
                </a:extLst>
              </p:cNvPr>
              <p:cNvSpPr/>
              <p:nvPr/>
            </p:nvSpPr>
            <p:spPr>
              <a:xfrm>
                <a:off x="2216922" y="3088169"/>
                <a:ext cx="2087688" cy="1558241"/>
              </a:xfrm>
              <a:prstGeom prst="round2SameRect">
                <a:avLst>
                  <a:gd name="adj1" fmla="val 0"/>
                  <a:gd name="adj2" fmla="val 9563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r>
                  <a:rPr lang="en-IN" sz="2400" b="1" dirty="0">
                    <a:solidFill>
                      <a:srgbClr val="242424"/>
                    </a:solidFill>
                    <a:latin typeface="Calibri" panose="020F0502020204030204"/>
                  </a:rPr>
                  <a:t>Cohort 3</a:t>
                </a:r>
              </a:p>
              <a:p>
                <a:pPr algn="ctr" defTabSz="914126"/>
                <a:r>
                  <a:rPr lang="en-IN" sz="2400" b="1" dirty="0">
                    <a:solidFill>
                      <a:srgbClr val="00B050"/>
                    </a:solidFill>
                    <a:latin typeface="Calibri" panose="020F0502020204030204"/>
                  </a:rPr>
                  <a:t>Bands G</a:t>
                </a:r>
              </a:p>
              <a:p>
                <a:pPr algn="ctr" defTabSz="914126"/>
                <a:endParaRPr lang="en-IN" sz="1799" dirty="0">
                  <a:solidFill>
                    <a:srgbClr val="242424"/>
                  </a:solidFill>
                  <a:latin typeface="Calibri" panose="020F0502020204030204"/>
                </a:endParaRP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853005F6-6F09-782E-D87F-860D1DA28BB7}"/>
                  </a:ext>
                </a:extLst>
              </p:cNvPr>
              <p:cNvSpPr/>
              <p:nvPr/>
            </p:nvSpPr>
            <p:spPr>
              <a:xfrm>
                <a:off x="1988411" y="2318951"/>
                <a:ext cx="2529627" cy="2373852"/>
              </a:xfrm>
              <a:prstGeom prst="roundRect">
                <a:avLst>
                  <a:gd name="adj" fmla="val 12715"/>
                </a:avLst>
              </a:prstGeom>
              <a:noFill/>
              <a:ln w="2540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IN" sz="1799">
                  <a:solidFill>
                    <a:srgbClr val="242424"/>
                  </a:solidFill>
                  <a:latin typeface="Calibri" panose="020F0502020204030204"/>
                </a:endParaRPr>
              </a:p>
            </p:txBody>
          </p:sp>
          <p:sp>
            <p:nvSpPr>
              <p:cNvPr id="15" name="Rectangle: Top Corners Rounded 14">
                <a:extLst>
                  <a:ext uri="{FF2B5EF4-FFF2-40B4-BE49-F238E27FC236}">
                    <a16:creationId xmlns:a16="http://schemas.microsoft.com/office/drawing/2014/main" id="{EC095D44-22CC-9426-6F6D-A59D24A2E5EF}"/>
                  </a:ext>
                </a:extLst>
              </p:cNvPr>
              <p:cNvSpPr/>
              <p:nvPr/>
            </p:nvSpPr>
            <p:spPr>
              <a:xfrm>
                <a:off x="1979221" y="2318951"/>
                <a:ext cx="2548006" cy="740886"/>
              </a:xfrm>
              <a:prstGeom prst="round2SameRect">
                <a:avLst>
                  <a:gd name="adj1" fmla="val 40023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>
                  <a:defRPr/>
                </a:pPr>
                <a:r>
                  <a:rPr lang="en-US" sz="2800" dirty="0">
                    <a:solidFill>
                      <a:srgbClr val="FFFFFF"/>
                    </a:solidFill>
                    <a:latin typeface="Calibri" panose="020F0502020204030204"/>
                  </a:rPr>
                  <a:t>Count= +/- 588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201518D-7C68-49D6-ACE3-71100534B0AC}"/>
                </a:ext>
              </a:extLst>
            </p:cNvPr>
            <p:cNvGrpSpPr/>
            <p:nvPr/>
          </p:nvGrpSpPr>
          <p:grpSpPr>
            <a:xfrm>
              <a:off x="469483" y="1751395"/>
              <a:ext cx="3383280" cy="3017520"/>
              <a:chOff x="7523837" y="2296080"/>
              <a:chExt cx="2548006" cy="2396723"/>
            </a:xfrm>
          </p:grpSpPr>
          <p:sp>
            <p:nvSpPr>
              <p:cNvPr id="40" name="Rectangle: Top Corners Rounded 39">
                <a:extLst>
                  <a:ext uri="{FF2B5EF4-FFF2-40B4-BE49-F238E27FC236}">
                    <a16:creationId xmlns:a16="http://schemas.microsoft.com/office/drawing/2014/main" id="{5DAE66A5-FA86-FB74-3AC1-0793F5AD9BD1}"/>
                  </a:ext>
                </a:extLst>
              </p:cNvPr>
              <p:cNvSpPr/>
              <p:nvPr/>
            </p:nvSpPr>
            <p:spPr>
              <a:xfrm>
                <a:off x="7753996" y="3223674"/>
                <a:ext cx="2087688" cy="1089420"/>
              </a:xfrm>
              <a:prstGeom prst="round2SameRect">
                <a:avLst>
                  <a:gd name="adj1" fmla="val 0"/>
                  <a:gd name="adj2" fmla="val 9563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>
                  <a:defRPr/>
                </a:pPr>
                <a:r>
                  <a:rPr lang="en-IN" sz="2400" b="1" dirty="0">
                    <a:solidFill>
                      <a:srgbClr val="242424"/>
                    </a:solidFill>
                    <a:latin typeface="Calibri" panose="020F0502020204030204"/>
                  </a:rPr>
                  <a:t>Cohort 1</a:t>
                </a:r>
              </a:p>
              <a:p>
                <a:pPr algn="ctr" defTabSz="914126">
                  <a:defRPr/>
                </a:pPr>
                <a:r>
                  <a:rPr lang="en-IN" sz="2400" b="1" dirty="0">
                    <a:solidFill>
                      <a:srgbClr val="7030A0"/>
                    </a:solidFill>
                    <a:latin typeface="Calibri" panose="020F0502020204030204"/>
                  </a:rPr>
                  <a:t>Bands I,J,K,L</a:t>
                </a:r>
              </a:p>
              <a:p>
                <a:pPr algn="ctr" defTabSz="914126">
                  <a:defRPr/>
                </a:pPr>
                <a:endParaRPr lang="en-IN" sz="1799" dirty="0">
                  <a:solidFill>
                    <a:srgbClr val="242424"/>
                  </a:solidFill>
                  <a:latin typeface="Calibri" panose="020F0502020204030204"/>
                </a:endParaRPr>
              </a:p>
            </p:txBody>
          </p:sp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0B7EEFE9-A37E-8DE1-B170-86AF6FC00BDB}"/>
                  </a:ext>
                </a:extLst>
              </p:cNvPr>
              <p:cNvSpPr/>
              <p:nvPr/>
            </p:nvSpPr>
            <p:spPr>
              <a:xfrm>
                <a:off x="7533027" y="2318951"/>
                <a:ext cx="2529627" cy="2373852"/>
              </a:xfrm>
              <a:prstGeom prst="roundRect">
                <a:avLst>
                  <a:gd name="adj" fmla="val 12715"/>
                </a:avLst>
              </a:prstGeom>
              <a:noFill/>
              <a:ln w="2540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IN" sz="1799">
                  <a:solidFill>
                    <a:srgbClr val="242424"/>
                  </a:solidFill>
                  <a:latin typeface="Calibri" panose="020F0502020204030204"/>
                </a:endParaRPr>
              </a:p>
            </p:txBody>
          </p:sp>
          <p:sp>
            <p:nvSpPr>
              <p:cNvPr id="43" name="Rectangle: Top Corners Rounded 42">
                <a:extLst>
                  <a:ext uri="{FF2B5EF4-FFF2-40B4-BE49-F238E27FC236}">
                    <a16:creationId xmlns:a16="http://schemas.microsoft.com/office/drawing/2014/main" id="{6E0C8D16-F1BB-4862-DDA7-421FCA32E18A}"/>
                  </a:ext>
                </a:extLst>
              </p:cNvPr>
              <p:cNvSpPr/>
              <p:nvPr/>
            </p:nvSpPr>
            <p:spPr>
              <a:xfrm>
                <a:off x="7523837" y="2296080"/>
                <a:ext cx="2548006" cy="740886"/>
              </a:xfrm>
              <a:prstGeom prst="round2SameRect">
                <a:avLst>
                  <a:gd name="adj1" fmla="val 40023"/>
                  <a:gd name="adj2" fmla="val 0"/>
                </a:avLst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>
                  <a:defRPr/>
                </a:pPr>
                <a:r>
                  <a:rPr lang="en-US" sz="2800" dirty="0">
                    <a:solidFill>
                      <a:srgbClr val="FFFFFF"/>
                    </a:solidFill>
                    <a:latin typeface="Calibri" panose="020F0502020204030204"/>
                  </a:rPr>
                  <a:t>Count= +/- 172</a:t>
                </a:r>
              </a:p>
            </p:txBody>
          </p:sp>
        </p:grpSp>
        <p:sp>
          <p:nvSpPr>
            <p:cNvPr id="23" name="Flowchart: Connector 22">
              <a:extLst>
                <a:ext uri="{FF2B5EF4-FFF2-40B4-BE49-F238E27FC236}">
                  <a16:creationId xmlns:a16="http://schemas.microsoft.com/office/drawing/2014/main" id="{0E274B81-2D55-689B-AE5E-26C732425890}"/>
                </a:ext>
              </a:extLst>
            </p:cNvPr>
            <p:cNvSpPr/>
            <p:nvPr/>
          </p:nvSpPr>
          <p:spPr>
            <a:xfrm>
              <a:off x="1609452" y="3966499"/>
              <a:ext cx="1188720" cy="1188720"/>
            </a:xfrm>
            <a:prstGeom prst="flowChartConnector">
              <a:avLst/>
            </a:prstGeom>
            <a:solidFill>
              <a:srgbClr val="7030A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6FCD8487-2768-049F-1901-2CFBD0716C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70000" contrast="-100000"/>
                      </a14:imgEffect>
                    </a14:imgLayer>
                  </a14:imgProps>
                </a:ext>
              </a:extLst>
            </a:blip>
            <a:srcRect b="14362"/>
            <a:stretch/>
          </p:blipFill>
          <p:spPr>
            <a:xfrm>
              <a:off x="1723326" y="4134651"/>
              <a:ext cx="960971" cy="822960"/>
            </a:xfrm>
            <a:prstGeom prst="rect">
              <a:avLst/>
            </a:prstGeom>
          </p:spPr>
        </p:pic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E1B4C6A4-A8BD-E33F-2929-65A09E6961F7}"/>
                </a:ext>
              </a:extLst>
            </p:cNvPr>
            <p:cNvSpPr/>
            <p:nvPr/>
          </p:nvSpPr>
          <p:spPr>
            <a:xfrm>
              <a:off x="5585426" y="3966499"/>
              <a:ext cx="1188720" cy="1188720"/>
            </a:xfrm>
            <a:prstGeom prst="flowChartConnector">
              <a:avLst/>
            </a:prstGeom>
            <a:solidFill>
              <a:srgbClr val="60606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D0A5A5B9-0305-DD15-4B02-F3A5D357A0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alphaModFix/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3400"/>
                      </a14:imgEffect>
                      <a14:imgEffect>
                        <a14:saturation sat="60000"/>
                      </a14:imgEffect>
                      <a14:imgEffect>
                        <a14:brightnessContrast bright="-40000" contrast="-99000"/>
                      </a14:imgEffect>
                    </a14:imgLayer>
                  </a14:imgProps>
                </a:ext>
              </a:extLst>
            </a:blip>
            <a:srcRect b="17885"/>
            <a:stretch/>
          </p:blipFill>
          <p:spPr>
            <a:xfrm>
              <a:off x="5511653" y="3997491"/>
              <a:ext cx="1336266" cy="1097280"/>
            </a:xfrm>
            <a:prstGeom prst="rect">
              <a:avLst/>
            </a:prstGeom>
          </p:spPr>
        </p:pic>
        <p:sp>
          <p:nvSpPr>
            <p:cNvPr id="41" name="Flowchart: Connector 40">
              <a:extLst>
                <a:ext uri="{FF2B5EF4-FFF2-40B4-BE49-F238E27FC236}">
                  <a16:creationId xmlns:a16="http://schemas.microsoft.com/office/drawing/2014/main" id="{B48A5F01-70D6-E805-99B4-F83538B87F53}"/>
                </a:ext>
              </a:extLst>
            </p:cNvPr>
            <p:cNvSpPr/>
            <p:nvPr/>
          </p:nvSpPr>
          <p:spPr>
            <a:xfrm>
              <a:off x="9688200" y="3997491"/>
              <a:ext cx="1188720" cy="1188720"/>
            </a:xfrm>
            <a:prstGeom prst="flowChartConnector">
              <a:avLst/>
            </a:prstGeom>
            <a:solidFill>
              <a:srgbClr val="00B05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42F8E99F-4170-90D3-7071-2AC6B2FCB4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-93000"/>
                      </a14:imgEffect>
                    </a14:imgLayer>
                  </a14:imgProps>
                </a:ext>
              </a:extLst>
            </a:blip>
            <a:srcRect l="8773" r="8816" b="12978"/>
            <a:stretch/>
          </p:blipFill>
          <p:spPr>
            <a:xfrm>
              <a:off x="9892880" y="4177372"/>
              <a:ext cx="779360" cy="822960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05DA7312-BD25-0141-F9FE-27CF2F546A6E}"/>
              </a:ext>
            </a:extLst>
          </p:cNvPr>
          <p:cNvSpPr/>
          <p:nvPr/>
        </p:nvSpPr>
        <p:spPr>
          <a:xfrm>
            <a:off x="9001346" y="6376944"/>
            <a:ext cx="2926080" cy="1828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Cohort count based on the Jan,2024 census</a:t>
            </a:r>
          </a:p>
        </p:txBody>
      </p:sp>
      <p:graphicFrame>
        <p:nvGraphicFramePr>
          <p:cNvPr id="13" name="Table 20">
            <a:extLst>
              <a:ext uri="{FF2B5EF4-FFF2-40B4-BE49-F238E27FC236}">
                <a16:creationId xmlns:a16="http://schemas.microsoft.com/office/drawing/2014/main" id="{14B1636C-5661-6DCA-61B7-157B65FAA2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7026345"/>
              </p:ext>
            </p:extLst>
          </p:nvPr>
        </p:nvGraphicFramePr>
        <p:xfrm>
          <a:off x="2635295" y="5573050"/>
          <a:ext cx="3200400" cy="54864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614726">
                  <a:extLst>
                    <a:ext uri="{9D8B030D-6E8A-4147-A177-3AD203B41FA5}">
                      <a16:colId xmlns:a16="http://schemas.microsoft.com/office/drawing/2014/main" val="753851717"/>
                    </a:ext>
                  </a:extLst>
                </a:gridCol>
                <a:gridCol w="452074">
                  <a:extLst>
                    <a:ext uri="{9D8B030D-6E8A-4147-A177-3AD203B41FA5}">
                      <a16:colId xmlns:a16="http://schemas.microsoft.com/office/drawing/2014/main" val="1792109396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519850231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1951464433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3844617345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863007295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and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I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J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K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399751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ount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08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9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4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38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4228819"/>
                  </a:ext>
                </a:extLst>
              </a:tr>
            </a:tbl>
          </a:graphicData>
        </a:graphic>
      </p:graphicFrame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43BAD0C4-B2D3-0824-1B39-CC3DAD4FE6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781955"/>
              </p:ext>
            </p:extLst>
          </p:nvPr>
        </p:nvGraphicFramePr>
        <p:xfrm>
          <a:off x="9811212" y="5618908"/>
          <a:ext cx="1300900" cy="54864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650450">
                  <a:extLst>
                    <a:ext uri="{9D8B030D-6E8A-4147-A177-3AD203B41FA5}">
                      <a16:colId xmlns:a16="http://schemas.microsoft.com/office/drawing/2014/main" val="1177691157"/>
                    </a:ext>
                  </a:extLst>
                </a:gridCol>
                <a:gridCol w="650450">
                  <a:extLst>
                    <a:ext uri="{9D8B030D-6E8A-4147-A177-3AD203B41FA5}">
                      <a16:colId xmlns:a16="http://schemas.microsoft.com/office/drawing/2014/main" val="3098906017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1200" b="1" kern="1200" dirty="0">
                          <a:solidFill>
                            <a:schemeClr val="bg1"/>
                          </a:solidFill>
                        </a:rPr>
                        <a:t>G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57568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</a:rPr>
                        <a:t>588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5745840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BEAF283-967E-AC66-338C-5C9C1CFBA89A}"/>
              </a:ext>
            </a:extLst>
          </p:cNvPr>
          <p:cNvSpPr txBox="1"/>
          <p:nvPr/>
        </p:nvSpPr>
        <p:spPr>
          <a:xfrm>
            <a:off x="57425" y="6247737"/>
            <a:ext cx="29594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3"/>
                </a:solidFill>
              </a:rPr>
              <a:t>Awareness I Knowledge I Cascad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1F7B158-BD1C-9BDB-CF13-579FD8364963}"/>
              </a:ext>
            </a:extLst>
          </p:cNvPr>
          <p:cNvSpPr txBox="1"/>
          <p:nvPr/>
        </p:nvSpPr>
        <p:spPr>
          <a:xfrm>
            <a:off x="6422150" y="981882"/>
            <a:ext cx="5435237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2024 Master KPI: </a:t>
            </a:r>
            <a:r>
              <a:rPr lang="en-US" b="1" dirty="0">
                <a:solidFill>
                  <a:schemeClr val="tx2"/>
                </a:solidFill>
              </a:rPr>
              <a:t>100% Attendance (Bands I-L)  </a:t>
            </a:r>
          </a:p>
        </p:txBody>
      </p:sp>
    </p:spTree>
    <p:extLst>
      <p:ext uri="{BB962C8B-B14F-4D97-AF65-F5344CB8AC3E}">
        <p14:creationId xmlns:p14="http://schemas.microsoft.com/office/powerpoint/2010/main" val="30450475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11AFFF4-38FC-7935-843E-3AFB4911D2A5}"/>
              </a:ext>
            </a:extLst>
          </p:cNvPr>
          <p:cNvGrpSpPr/>
          <p:nvPr/>
        </p:nvGrpSpPr>
        <p:grpSpPr>
          <a:xfrm>
            <a:off x="110932" y="893183"/>
            <a:ext cx="6217920" cy="5303520"/>
            <a:chOff x="448887" y="917471"/>
            <a:chExt cx="6575368" cy="5071634"/>
          </a:xfrm>
        </p:grpSpPr>
        <p:sp>
          <p:nvSpPr>
            <p:cNvPr id="5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C7ACAB1E-AD02-4441-8E7F-F726E5F5FD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4946" y="4992145"/>
              <a:ext cx="369958" cy="354978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6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0C3D298-5E3B-4493-82DF-4AC4A6A9BF1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5386" y="4604440"/>
              <a:ext cx="558873" cy="513583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7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0CC71AD6-8F16-42D3-9518-17A153780AD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38822" y="3194604"/>
              <a:ext cx="490654" cy="322248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8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40C45738-ABF0-416C-8C64-9DB9974C5A22}"/>
                </a:ext>
              </a:extLst>
            </p:cNvPr>
            <p:cNvSpPr>
              <a:spLocks/>
            </p:cNvSpPr>
            <p:nvPr/>
          </p:nvSpPr>
          <p:spPr bwMode="gray">
            <a:xfrm>
              <a:off x="833961" y="2746475"/>
              <a:ext cx="401443" cy="32980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9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B4348319-B6BE-44C7-B5E1-443587DA1F0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7376" y="2497235"/>
              <a:ext cx="28863" cy="60422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solidFill>
              <a:srgbClr val="ADECF9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0AB5C8FA-D8A4-4908-9C70-4D469F344DD3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9573" y="2968021"/>
              <a:ext cx="406690" cy="767859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7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4657177D-F778-475A-AF69-187FF625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5016" y="2804380"/>
              <a:ext cx="225649" cy="206442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C923A6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9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638B65EB-0406-4D06-87A7-C8E418FE55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35342" y="3964977"/>
              <a:ext cx="262379" cy="297072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22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5EE711EE-50D6-4BAC-8E18-780D97DA660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85816" y="2245480"/>
              <a:ext cx="183667" cy="36756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23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369CFC60-701F-4735-9222-A8E5CEC15D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13233" y="3607482"/>
              <a:ext cx="94457" cy="259312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ADECF9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24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387D271-8C5E-4C1F-B477-6D47B76AA60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2782" y="3121592"/>
              <a:ext cx="414565" cy="765341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25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9C8A21D5-6FA9-40AF-ADBC-391C62D00F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32717" y="4234357"/>
              <a:ext cx="514268" cy="55890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2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3B5088FE-F44B-400B-9816-00FD288A0124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3246" y="2056662"/>
              <a:ext cx="369958" cy="224064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28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52304FBE-19BB-427B-A2D2-B71A228B7E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5247" y="2240445"/>
              <a:ext cx="301739" cy="266864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31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831F711-0CA4-48EE-9A90-8916FBE4DD06}"/>
                </a:ext>
              </a:extLst>
            </p:cNvPr>
            <p:cNvSpPr>
              <a:spLocks/>
            </p:cNvSpPr>
            <p:nvPr/>
          </p:nvSpPr>
          <p:spPr bwMode="gray">
            <a:xfrm>
              <a:off x="3064204" y="5515799"/>
              <a:ext cx="68220" cy="8559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33" name="Sudan">
              <a:extLst>
                <a:ext uri="{FF2B5EF4-FFF2-40B4-BE49-F238E27FC236}">
                  <a16:creationId xmlns:a16="http://schemas.microsoft.com/office/drawing/2014/main" id="{DEDD0649-D4E0-4930-9450-A8B9EA99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6877" y="2978709"/>
              <a:ext cx="801717" cy="75467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34" name="South Sudan">
              <a:extLst>
                <a:ext uri="{FF2B5EF4-FFF2-40B4-BE49-F238E27FC236}">
                  <a16:creationId xmlns:a16="http://schemas.microsoft.com/office/drawing/2014/main" id="{E376B6A8-70AB-4C52-874E-CD404C873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8273" y="3540666"/>
              <a:ext cx="577236" cy="46317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85DC199F-4EBE-42F1-9D6B-B0A8929FA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5415144" y="3683009"/>
              <a:ext cx="115448" cy="19636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37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565280C-7FEC-471F-980F-3328D00532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5134" y="5332018"/>
              <a:ext cx="760909" cy="65708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38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BD49BB74-AA3F-4EF3-8924-B65377F4F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8470" y="3557133"/>
              <a:ext cx="480160" cy="71247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4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9D6BD108-801A-47AC-A3AF-86A393BFC60A}"/>
                </a:ext>
              </a:extLst>
            </p:cNvPr>
            <p:cNvSpPr>
              <a:spLocks/>
            </p:cNvSpPr>
            <p:nvPr/>
          </p:nvSpPr>
          <p:spPr bwMode="gray">
            <a:xfrm>
              <a:off x="991387" y="3657835"/>
              <a:ext cx="139062" cy="173712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4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E726DBF-6927-4455-861E-A8EC35E7E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852329" y="3307894"/>
              <a:ext cx="278125" cy="236650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4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8D23A771-CA44-43BD-B081-629C7E3378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7376" y="2512344"/>
              <a:ext cx="997050" cy="82072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996600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4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29055C57-57FA-4FA7-ABE7-872A682230D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5985" y="4234357"/>
              <a:ext cx="99705" cy="956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5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D4608EE6-BCA5-4CB2-8480-5BD3BFB8CEC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0908" y="2819485"/>
              <a:ext cx="44606" cy="9315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CBA357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5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8F32BC6-9F4C-4951-A362-3CC9121846D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6462" y="2260586"/>
              <a:ext cx="705807" cy="679743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800080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6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7BD29091-D396-4FCF-A128-A3C96D30FA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6610" y="3285233"/>
              <a:ext cx="62972" cy="40281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ADECF9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6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900E0A2F-3C59-4009-A04D-0C46546B2E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4373" y="2882424"/>
              <a:ext cx="362087" cy="433020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FF6600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6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9FD24E4-381E-481F-B4EA-69BA12163B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52296" y="3461464"/>
              <a:ext cx="561497" cy="495962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6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FD27DD37-D6B9-4656-9281-2773ED3E1C14}"/>
                </a:ext>
              </a:extLst>
            </p:cNvPr>
            <p:cNvSpPr>
              <a:spLocks/>
            </p:cNvSpPr>
            <p:nvPr/>
          </p:nvSpPr>
          <p:spPr bwMode="gray">
            <a:xfrm>
              <a:off x="1634226" y="2962986"/>
              <a:ext cx="745162" cy="606735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6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0B72E2D-F517-4142-B45C-E8B8721FBB3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3311" y="2600455"/>
              <a:ext cx="393573" cy="2114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7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DDE7319-69F0-4AE9-9F81-5CAE8BF88D3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4731" y="5060121"/>
              <a:ext cx="640210" cy="626876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7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8408DF2-0E71-40FD-822C-BDB0A46E9FF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42532" y="2701160"/>
              <a:ext cx="427683" cy="964229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7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EBAD26E0-7809-4EAF-B652-F01A6179B9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8463" y="4725285"/>
              <a:ext cx="511644" cy="8610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7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54BFEF28-FEEC-4475-9882-A091013B0D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5497" y="2321007"/>
              <a:ext cx="569370" cy="42547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7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AB6D53A-B19F-4A01-82CB-DEB3933EC826}"/>
                </a:ext>
              </a:extLst>
            </p:cNvPr>
            <p:cNvSpPr>
              <a:spLocks/>
            </p:cNvSpPr>
            <p:nvPr/>
          </p:nvSpPr>
          <p:spPr bwMode="gray">
            <a:xfrm>
              <a:off x="833961" y="2769135"/>
              <a:ext cx="574616" cy="647015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8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F6740BC5-E462-42BF-91AE-98C9B4EEC41F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3867" y="2882424"/>
              <a:ext cx="779276" cy="772893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8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B58B632A-14F8-4300-BD5E-D7C7B2FA2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1783" y="4669894"/>
              <a:ext cx="157429" cy="40281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8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CAA37B69-3F3C-47CD-B795-E967F27599D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30949" y="4818434"/>
              <a:ext cx="398818" cy="702402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8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4E4090EC-191A-4DC9-863E-307A39D0C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4533" y="2456953"/>
              <a:ext cx="737294" cy="714988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9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DB1F2C11-6EC4-4A28-8FA1-858F6B52B862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9609" y="3735880"/>
              <a:ext cx="207283" cy="221545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9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B405FEFA-DF4B-4F05-A50C-2C18B81DBA55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912" y="5666854"/>
              <a:ext cx="112826" cy="10573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9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730C8CED-7A30-496F-A63C-9C606CC2B48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24257" y="2383946"/>
              <a:ext cx="73466" cy="100703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9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F525CC3-8B19-4E09-A8B2-869C6BECCE11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0362" y="3013338"/>
              <a:ext cx="404067" cy="44812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9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B6AFA19-0FC8-45D7-BD1A-E60F3DE2E9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0508" y="2623115"/>
              <a:ext cx="91835" cy="78046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ADECF9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00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AC20B781-C397-4AD0-8793-525BF44ACAF3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5248" y="3937287"/>
              <a:ext cx="377830" cy="490928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9F0346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02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58D2D2F7-CD39-41C8-9D93-B52C85F8C53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5248" y="2454438"/>
              <a:ext cx="188915" cy="21651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06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74CF716E-A5C1-4BF2-9005-803091E573B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5890" y="2446886"/>
              <a:ext cx="68220" cy="206442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08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BACE4281-612F-48F0-B28B-C95FF13238BD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2678" y="2245480"/>
              <a:ext cx="459171" cy="425470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11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263AE70A-9C4D-41E9-ACF2-395746D4A0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19537" y="2313454"/>
              <a:ext cx="1311908" cy="1518092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18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0A4F8793-3A9E-4F17-9C9F-D69385C46B8A}"/>
                </a:ext>
              </a:extLst>
            </p:cNvPr>
            <p:cNvSpPr>
              <a:spLocks/>
            </p:cNvSpPr>
            <p:nvPr/>
          </p:nvSpPr>
          <p:spPr bwMode="gray">
            <a:xfrm>
              <a:off x="849704" y="3519370"/>
              <a:ext cx="123320" cy="100703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19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3C735EC-2DAC-426A-9B09-E1C5C3C1FD0B}"/>
                </a:ext>
              </a:extLst>
            </p:cNvPr>
            <p:cNvSpPr>
              <a:spLocks/>
            </p:cNvSpPr>
            <p:nvPr/>
          </p:nvSpPr>
          <p:spPr bwMode="gray">
            <a:xfrm>
              <a:off x="910052" y="3524403"/>
              <a:ext cx="348967" cy="284484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23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EFBBADD9-AF9A-453E-8A32-65664FF9C641}"/>
                </a:ext>
              </a:extLst>
            </p:cNvPr>
            <p:cNvSpPr>
              <a:spLocks/>
            </p:cNvSpPr>
            <p:nvPr/>
          </p:nvSpPr>
          <p:spPr bwMode="gray">
            <a:xfrm>
              <a:off x="1461053" y="3604966"/>
              <a:ext cx="217778" cy="332318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25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AF0D1591-E702-47DA-9AA5-F1287C4D18B7}"/>
                </a:ext>
              </a:extLst>
            </p:cNvPr>
            <p:cNvSpPr>
              <a:spLocks/>
            </p:cNvSpPr>
            <p:nvPr/>
          </p:nvSpPr>
          <p:spPr bwMode="gray">
            <a:xfrm>
              <a:off x="3394805" y="1920714"/>
              <a:ext cx="309609" cy="135947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26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CE2FCAD-5A83-4176-8998-26F18900551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088" y="3466502"/>
              <a:ext cx="144311" cy="32728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27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3940AB68-2482-4767-AB6E-616A8260E20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3044" y="4055611"/>
              <a:ext cx="280750" cy="32980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30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17B555D0-0669-48CF-BFD1-48D7E18280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5396" y="3408597"/>
              <a:ext cx="708431" cy="594146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32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A67488-16E4-4BA9-9587-64784027CF7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4954" y="3244952"/>
              <a:ext cx="322732" cy="294555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33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58153177-5E58-4292-B6D8-862BE501D62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4533" y="4060646"/>
              <a:ext cx="97082" cy="70490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35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38E0E72E-1AB8-4B6A-A947-20B3A86D2F1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0338" y="2537516"/>
              <a:ext cx="530011" cy="51861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7030A0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39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3AD753E5-E65C-435A-B187-95ADB44EAB99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2090" y="3524403"/>
              <a:ext cx="78714" cy="88117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42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3F4556C9-36B0-4BEA-9B3F-D0736257AE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5689" y="2333597"/>
              <a:ext cx="99705" cy="55386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45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2731F26B-A724-43DF-8B6D-E4E5B01D484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06543" y="3625106"/>
              <a:ext cx="293867" cy="332318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47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3BFEA482-A580-4389-8D4C-5B9E0826AD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6216" y="3902040"/>
              <a:ext cx="905217" cy="97681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48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571D8EDB-6532-4677-B0EA-D107CCB4D8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8493" y="3987638"/>
              <a:ext cx="359464" cy="450646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52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A15F2AE4-F84E-45FD-B94D-7054FA164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8693" y="2962986"/>
              <a:ext cx="498524" cy="830799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53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0D7B808E-F15D-4145-92AC-D6F10EE73C12}"/>
                </a:ext>
              </a:extLst>
            </p:cNvPr>
            <p:cNvSpPr>
              <a:spLocks/>
            </p:cNvSpPr>
            <p:nvPr/>
          </p:nvSpPr>
          <p:spPr bwMode="gray">
            <a:xfrm>
              <a:off x="2305923" y="3612519"/>
              <a:ext cx="613974" cy="450646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5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C4FAAE80-AFE1-40FC-901F-025CC1DFE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7800" y="3499231"/>
              <a:ext cx="367333" cy="596663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5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AC801A49-7BB1-4E42-966D-C4F9A86A313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7792" y="3426218"/>
              <a:ext cx="254510" cy="216512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57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7EBEEB21-3AA1-49E0-B29A-5275961D09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860" y="4307368"/>
              <a:ext cx="89210" cy="108257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ADECF9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58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BD88B56-2F6A-4669-A326-2D4251EE803F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6102" y="3401042"/>
              <a:ext cx="383078" cy="289521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61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A1A59DE2-BFEA-4C3E-82A4-52E4A4E04B7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60433" y="5102918"/>
              <a:ext cx="435553" cy="470786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64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775CFAB-9DC1-4867-A334-4D4C8D027A19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0499" y="2711231"/>
              <a:ext cx="157429" cy="8559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65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8EAD8B4-F498-4757-A08F-8532B92F3D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6186" y="3539512"/>
              <a:ext cx="121212" cy="260701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68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80369C05-A4BF-419B-9D3B-97B7607C612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9511" y="2804381"/>
              <a:ext cx="251887" cy="274415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6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FE127472-FF16-4EA3-B070-20AF28C597B9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2542" y="2814452"/>
              <a:ext cx="18367" cy="35246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ADECF9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71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0F2AF24C-0C85-42F4-B412-1CC5DB633C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630953" y="2008830"/>
              <a:ext cx="241390" cy="186300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A0536E56-6343-4C1C-867C-03898EE807FA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2732" y="2036522"/>
              <a:ext cx="149559" cy="135947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76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CB97B078-CE12-4B7F-A148-8B0102C6E1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74731" y="4403037"/>
              <a:ext cx="595607" cy="71247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78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167B664A-0A38-4660-A951-57E677D62B49}"/>
                </a:ext>
              </a:extLst>
            </p:cNvPr>
            <p:cNvSpPr>
              <a:spLocks/>
            </p:cNvSpPr>
            <p:nvPr/>
          </p:nvSpPr>
          <p:spPr bwMode="gray">
            <a:xfrm>
              <a:off x="1198674" y="2253031"/>
              <a:ext cx="991806" cy="941567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8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353E7D-5DDE-49DC-9C8E-4C5DCD9BBE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76119" y="2182536"/>
              <a:ext cx="608726" cy="47581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 dirty="0">
                <a:solidFill>
                  <a:schemeClr val="lt1"/>
                </a:solidFill>
              </a:endParaRPr>
            </a:p>
          </p:txBody>
        </p:sp>
        <p:sp>
          <p:nvSpPr>
            <p:cNvPr id="182" name="Callout: Line 181">
              <a:extLst>
                <a:ext uri="{FF2B5EF4-FFF2-40B4-BE49-F238E27FC236}">
                  <a16:creationId xmlns:a16="http://schemas.microsoft.com/office/drawing/2014/main" id="{731F161D-6F56-1192-A900-68D709372CEB}"/>
                </a:ext>
              </a:extLst>
            </p:cNvPr>
            <p:cNvSpPr/>
            <p:nvPr/>
          </p:nvSpPr>
          <p:spPr>
            <a:xfrm>
              <a:off x="4352121" y="3644757"/>
              <a:ext cx="1021129" cy="468756"/>
            </a:xfrm>
            <a:prstGeom prst="borderCallout1">
              <a:avLst>
                <a:gd name="adj1" fmla="val 48750"/>
                <a:gd name="adj2" fmla="val -1190"/>
                <a:gd name="adj3" fmla="val -99390"/>
                <a:gd name="adj4" fmla="val -14525"/>
              </a:avLst>
            </a:prstGeom>
            <a:solidFill>
              <a:srgbClr val="FF660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bg1"/>
                  </a:solidFill>
                </a:rPr>
                <a:t>Oman</a:t>
              </a:r>
            </a:p>
            <a:p>
              <a:r>
                <a:rPr lang="en-US" sz="1100" dirty="0">
                  <a:solidFill>
                    <a:schemeClr val="bg1"/>
                  </a:solidFill>
                </a:rPr>
                <a:t>Audience:8</a:t>
              </a:r>
            </a:p>
          </p:txBody>
        </p:sp>
        <p:sp>
          <p:nvSpPr>
            <p:cNvPr id="183" name="Callout: Line 182">
              <a:extLst>
                <a:ext uri="{FF2B5EF4-FFF2-40B4-BE49-F238E27FC236}">
                  <a16:creationId xmlns:a16="http://schemas.microsoft.com/office/drawing/2014/main" id="{B03186D5-B9A0-04C5-1B8B-0048BEDF7E40}"/>
                </a:ext>
              </a:extLst>
            </p:cNvPr>
            <p:cNvSpPr/>
            <p:nvPr/>
          </p:nvSpPr>
          <p:spPr>
            <a:xfrm>
              <a:off x="5772510" y="1613299"/>
              <a:ext cx="1167072" cy="448129"/>
            </a:xfrm>
            <a:prstGeom prst="borderCallout1">
              <a:avLst>
                <a:gd name="adj1" fmla="val 48750"/>
                <a:gd name="adj2" fmla="val -1190"/>
                <a:gd name="adj3" fmla="val 214514"/>
                <a:gd name="adj4" fmla="val -72007"/>
              </a:avLst>
            </a:prstGeom>
            <a:solidFill>
              <a:srgbClr val="80008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bg1"/>
                  </a:solidFill>
                </a:rPr>
                <a:t>Pakistan</a:t>
              </a:r>
            </a:p>
            <a:p>
              <a:r>
                <a:rPr lang="en-US" sz="1100" dirty="0">
                  <a:solidFill>
                    <a:schemeClr val="bg1"/>
                  </a:solidFill>
                </a:rPr>
                <a:t>Audience:46</a:t>
              </a:r>
            </a:p>
          </p:txBody>
        </p:sp>
        <p:sp>
          <p:nvSpPr>
            <p:cNvPr id="185" name="Callout: Line 184">
              <a:extLst>
                <a:ext uri="{FF2B5EF4-FFF2-40B4-BE49-F238E27FC236}">
                  <a16:creationId xmlns:a16="http://schemas.microsoft.com/office/drawing/2014/main" id="{499F77DB-7DD9-1552-92F4-CF683BB07FD8}"/>
                </a:ext>
              </a:extLst>
            </p:cNvPr>
            <p:cNvSpPr/>
            <p:nvPr/>
          </p:nvSpPr>
          <p:spPr>
            <a:xfrm>
              <a:off x="6021511" y="3840369"/>
              <a:ext cx="1002744" cy="524652"/>
            </a:xfrm>
            <a:prstGeom prst="borderCallout1">
              <a:avLst>
                <a:gd name="adj1" fmla="val 48750"/>
                <a:gd name="adj2" fmla="val -1190"/>
                <a:gd name="adj3" fmla="val 7055"/>
                <a:gd name="adj4" fmla="val -52054"/>
              </a:avLst>
            </a:prstGeom>
            <a:solidFill>
              <a:srgbClr val="00216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bg1"/>
                  </a:solidFill>
                </a:rPr>
                <a:t>Sri Lanka</a:t>
              </a:r>
            </a:p>
            <a:p>
              <a:r>
                <a:rPr lang="en-US" sz="1100" dirty="0">
                  <a:solidFill>
                    <a:schemeClr val="bg1"/>
                  </a:solidFill>
                </a:rPr>
                <a:t>Audience: 17</a:t>
              </a:r>
            </a:p>
          </p:txBody>
        </p:sp>
        <p:sp>
          <p:nvSpPr>
            <p:cNvPr id="186" name="Callout: Line 185">
              <a:extLst>
                <a:ext uri="{FF2B5EF4-FFF2-40B4-BE49-F238E27FC236}">
                  <a16:creationId xmlns:a16="http://schemas.microsoft.com/office/drawing/2014/main" id="{8A0622E9-F2D3-8770-D50A-28330C09B189}"/>
                </a:ext>
              </a:extLst>
            </p:cNvPr>
            <p:cNvSpPr/>
            <p:nvPr/>
          </p:nvSpPr>
          <p:spPr>
            <a:xfrm>
              <a:off x="448887" y="1719307"/>
              <a:ext cx="1245690" cy="448128"/>
            </a:xfrm>
            <a:prstGeom prst="borderCallout1">
              <a:avLst>
                <a:gd name="adj1" fmla="val 98628"/>
                <a:gd name="adj2" fmla="val 99469"/>
                <a:gd name="adj3" fmla="val 234591"/>
                <a:gd name="adj4" fmla="val 205411"/>
              </a:avLst>
            </a:prstGeom>
            <a:solidFill>
              <a:srgbClr val="7030A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bg1"/>
                  </a:solidFill>
                </a:rPr>
                <a:t>Egypt</a:t>
              </a:r>
            </a:p>
            <a:p>
              <a:r>
                <a:rPr lang="en-US" sz="1100" dirty="0">
                  <a:solidFill>
                    <a:schemeClr val="bg1"/>
                  </a:solidFill>
                </a:rPr>
                <a:t>Audience: 31</a:t>
              </a:r>
            </a:p>
          </p:txBody>
        </p:sp>
        <p:sp>
          <p:nvSpPr>
            <p:cNvPr id="187" name="Callout: Line 186">
              <a:extLst>
                <a:ext uri="{FF2B5EF4-FFF2-40B4-BE49-F238E27FC236}">
                  <a16:creationId xmlns:a16="http://schemas.microsoft.com/office/drawing/2014/main" id="{FBE329A8-0A61-146C-A2FA-D0D0EFEA7CD5}"/>
                </a:ext>
              </a:extLst>
            </p:cNvPr>
            <p:cNvSpPr/>
            <p:nvPr/>
          </p:nvSpPr>
          <p:spPr>
            <a:xfrm>
              <a:off x="3991725" y="1423581"/>
              <a:ext cx="1311907" cy="385873"/>
            </a:xfrm>
            <a:prstGeom prst="borderCallout1">
              <a:avLst>
                <a:gd name="adj1" fmla="val 110053"/>
                <a:gd name="adj2" fmla="val 36570"/>
                <a:gd name="adj3" fmla="val 387701"/>
                <a:gd name="adj4" fmla="val 12632"/>
              </a:avLst>
            </a:prstGeom>
            <a:solidFill>
              <a:srgbClr val="C923A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100" b="1" dirty="0">
                  <a:solidFill>
                    <a:schemeClr val="bg1"/>
                  </a:solidFill>
                </a:rPr>
                <a:t>UAE</a:t>
              </a:r>
            </a:p>
            <a:p>
              <a:r>
                <a:rPr lang="en-US" sz="1100" dirty="0">
                  <a:solidFill>
                    <a:schemeClr val="bg1"/>
                  </a:solidFill>
                </a:rPr>
                <a:t>Audience:361</a:t>
              </a:r>
            </a:p>
          </p:txBody>
        </p:sp>
        <p:sp>
          <p:nvSpPr>
            <p:cNvPr id="188" name="Callout: Line 187">
              <a:extLst>
                <a:ext uri="{FF2B5EF4-FFF2-40B4-BE49-F238E27FC236}">
                  <a16:creationId xmlns:a16="http://schemas.microsoft.com/office/drawing/2014/main" id="{816496CC-C575-D54C-B52D-FD8778418717}"/>
                </a:ext>
              </a:extLst>
            </p:cNvPr>
            <p:cNvSpPr/>
            <p:nvPr/>
          </p:nvSpPr>
          <p:spPr>
            <a:xfrm>
              <a:off x="2934324" y="917471"/>
              <a:ext cx="1195151" cy="347502"/>
            </a:xfrm>
            <a:prstGeom prst="borderCallout1">
              <a:avLst>
                <a:gd name="adj1" fmla="val 108476"/>
                <a:gd name="adj2" fmla="val 41527"/>
                <a:gd name="adj3" fmla="val 544420"/>
                <a:gd name="adj4" fmla="val 92387"/>
              </a:avLst>
            </a:prstGeom>
            <a:solidFill>
              <a:srgbClr val="CBA357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bg1"/>
                  </a:solidFill>
                </a:rPr>
                <a:t>Qatar</a:t>
              </a:r>
            </a:p>
            <a:p>
              <a:r>
                <a:rPr lang="en-US" sz="1100" dirty="0">
                  <a:solidFill>
                    <a:schemeClr val="bg1"/>
                  </a:solidFill>
                </a:rPr>
                <a:t>Audience: 13</a:t>
              </a:r>
            </a:p>
          </p:txBody>
        </p:sp>
        <p:sp>
          <p:nvSpPr>
            <p:cNvPr id="189" name="Callout: Line 188">
              <a:extLst>
                <a:ext uri="{FF2B5EF4-FFF2-40B4-BE49-F238E27FC236}">
                  <a16:creationId xmlns:a16="http://schemas.microsoft.com/office/drawing/2014/main" id="{3BE73CED-B004-F1EC-985F-76B74A6387D3}"/>
                </a:ext>
              </a:extLst>
            </p:cNvPr>
            <p:cNvSpPr/>
            <p:nvPr/>
          </p:nvSpPr>
          <p:spPr>
            <a:xfrm>
              <a:off x="4192920" y="4441522"/>
              <a:ext cx="1222223" cy="448341"/>
            </a:xfrm>
            <a:prstGeom prst="borderCallout1">
              <a:avLst>
                <a:gd name="adj1" fmla="val 48750"/>
                <a:gd name="adj2" fmla="val -1190"/>
                <a:gd name="adj3" fmla="val -38356"/>
                <a:gd name="adj4" fmla="val -57009"/>
              </a:avLst>
            </a:prstGeom>
            <a:solidFill>
              <a:srgbClr val="9F034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bg1"/>
                  </a:solidFill>
                </a:rPr>
                <a:t>Kenya</a:t>
              </a:r>
            </a:p>
            <a:p>
              <a:r>
                <a:rPr lang="en-US" sz="1100" dirty="0">
                  <a:solidFill>
                    <a:schemeClr val="bg1"/>
                  </a:solidFill>
                </a:rPr>
                <a:t>Audience: 17</a:t>
              </a:r>
            </a:p>
          </p:txBody>
        </p:sp>
        <p:sp>
          <p:nvSpPr>
            <p:cNvPr id="190" name="Callout: Line 189">
              <a:extLst>
                <a:ext uri="{FF2B5EF4-FFF2-40B4-BE49-F238E27FC236}">
                  <a16:creationId xmlns:a16="http://schemas.microsoft.com/office/drawing/2014/main" id="{D4E84DE5-23BB-7CAD-58D1-3F3918B50530}"/>
                </a:ext>
              </a:extLst>
            </p:cNvPr>
            <p:cNvSpPr/>
            <p:nvPr/>
          </p:nvSpPr>
          <p:spPr>
            <a:xfrm>
              <a:off x="1594867" y="1141270"/>
              <a:ext cx="1162350" cy="405330"/>
            </a:xfrm>
            <a:prstGeom prst="borderCallout1">
              <a:avLst>
                <a:gd name="adj1" fmla="val 106987"/>
                <a:gd name="adj2" fmla="val 62113"/>
                <a:gd name="adj3" fmla="val 479586"/>
                <a:gd name="adj4" fmla="val 176496"/>
              </a:avLst>
            </a:prstGeom>
            <a:solidFill>
              <a:srgbClr val="99660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bg1"/>
                  </a:solidFill>
                </a:rPr>
                <a:t>KSA</a:t>
              </a:r>
            </a:p>
            <a:p>
              <a:r>
                <a:rPr lang="en-US" sz="1100" dirty="0">
                  <a:solidFill>
                    <a:schemeClr val="bg1"/>
                  </a:solidFill>
                </a:rPr>
                <a:t>Audience :9</a:t>
              </a:r>
            </a:p>
          </p:txBody>
        </p:sp>
      </p:grp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057522BC-18DF-AC44-D299-8BEF8AA7FA21}"/>
              </a:ext>
            </a:extLst>
          </p:cNvPr>
          <p:cNvCxnSpPr>
            <a:cxnSpLocks/>
          </p:cNvCxnSpPr>
          <p:nvPr/>
        </p:nvCxnSpPr>
        <p:spPr>
          <a:xfrm flipV="1">
            <a:off x="-24680" y="694547"/>
            <a:ext cx="12241360" cy="72008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/>
        </p:spPr>
      </p:cxnSp>
      <p:graphicFrame>
        <p:nvGraphicFramePr>
          <p:cNvPr id="198" name="Table 198">
            <a:extLst>
              <a:ext uri="{FF2B5EF4-FFF2-40B4-BE49-F238E27FC236}">
                <a16:creationId xmlns:a16="http://schemas.microsoft.com/office/drawing/2014/main" id="{123775D4-5837-085B-5029-D13EE66EFF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1526039"/>
              </p:ext>
            </p:extLst>
          </p:nvPr>
        </p:nvGraphicFramePr>
        <p:xfrm>
          <a:off x="6542202" y="1838231"/>
          <a:ext cx="5576414" cy="3835956"/>
        </p:xfrm>
        <a:graphic>
          <a:graphicData uri="http://schemas.openxmlformats.org/drawingml/2006/table">
            <a:tbl>
              <a:tblPr firstRow="1" lastCol="1">
                <a:tableStyleId>{F5AB1C69-6EDB-4FF4-983F-18BD219EF322}</a:tableStyleId>
              </a:tblPr>
              <a:tblGrid>
                <a:gridCol w="978370">
                  <a:extLst>
                    <a:ext uri="{9D8B030D-6E8A-4147-A177-3AD203B41FA5}">
                      <a16:colId xmlns:a16="http://schemas.microsoft.com/office/drawing/2014/main" val="3099281852"/>
                    </a:ext>
                  </a:extLst>
                </a:gridCol>
                <a:gridCol w="608006">
                  <a:extLst>
                    <a:ext uri="{9D8B030D-6E8A-4147-A177-3AD203B41FA5}">
                      <a16:colId xmlns:a16="http://schemas.microsoft.com/office/drawing/2014/main" val="1032488743"/>
                    </a:ext>
                  </a:extLst>
                </a:gridCol>
                <a:gridCol w="503888">
                  <a:extLst>
                    <a:ext uri="{9D8B030D-6E8A-4147-A177-3AD203B41FA5}">
                      <a16:colId xmlns:a16="http://schemas.microsoft.com/office/drawing/2014/main" val="163051130"/>
                    </a:ext>
                  </a:extLst>
                </a:gridCol>
                <a:gridCol w="697230">
                  <a:extLst>
                    <a:ext uri="{9D8B030D-6E8A-4147-A177-3AD203B41FA5}">
                      <a16:colId xmlns:a16="http://schemas.microsoft.com/office/drawing/2014/main" val="3354130223"/>
                    </a:ext>
                  </a:extLst>
                </a:gridCol>
                <a:gridCol w="478835">
                  <a:extLst>
                    <a:ext uri="{9D8B030D-6E8A-4147-A177-3AD203B41FA5}">
                      <a16:colId xmlns:a16="http://schemas.microsoft.com/office/drawing/2014/main" val="4258809933"/>
                    </a:ext>
                  </a:extLst>
                </a:gridCol>
                <a:gridCol w="881465">
                  <a:extLst>
                    <a:ext uri="{9D8B030D-6E8A-4147-A177-3AD203B41FA5}">
                      <a16:colId xmlns:a16="http://schemas.microsoft.com/office/drawing/2014/main" val="3747244903"/>
                    </a:ext>
                  </a:extLst>
                </a:gridCol>
                <a:gridCol w="789648">
                  <a:extLst>
                    <a:ext uri="{9D8B030D-6E8A-4147-A177-3AD203B41FA5}">
                      <a16:colId xmlns:a16="http://schemas.microsoft.com/office/drawing/2014/main" val="2042181343"/>
                    </a:ext>
                  </a:extLst>
                </a:gridCol>
                <a:gridCol w="638972">
                  <a:extLst>
                    <a:ext uri="{9D8B030D-6E8A-4147-A177-3AD203B41FA5}">
                      <a16:colId xmlns:a16="http://schemas.microsoft.com/office/drawing/2014/main" val="2854711503"/>
                    </a:ext>
                  </a:extLst>
                </a:gridCol>
              </a:tblGrid>
              <a:tr h="317844"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ountry</a:t>
                      </a:r>
                    </a:p>
                  </a:txBody>
                  <a:tcPr anchor="ctr"/>
                </a:tc>
                <a:tc gridSpan="5">
                  <a:txBody>
                    <a:bodyPr/>
                    <a:lstStyle/>
                    <a:p>
                      <a:pPr lvl="1" algn="ctr"/>
                      <a:r>
                        <a:rPr lang="en-US" sz="1200" spc="600" baseline="0" dirty="0"/>
                        <a:t>Cohort 1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vl="1" algn="ctr"/>
                      <a:r>
                        <a:rPr lang="en-US" sz="1200" spc="600" baseline="0" dirty="0"/>
                        <a:t>Total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spc="0" dirty="0"/>
                        <a:t>Cohort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pc="0" dirty="0"/>
                        <a:t>Grand</a:t>
                      </a:r>
                    </a:p>
                    <a:p>
                      <a:pPr algn="ctr"/>
                      <a:r>
                        <a:rPr lang="en-US" sz="1200" spc="0" dirty="0"/>
                        <a:t>Total</a:t>
                      </a:r>
                    </a:p>
                  </a:txBody>
                  <a:tcPr anchor="ctr">
                    <a:solidFill>
                      <a:srgbClr val="005B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189577"/>
                  </a:ext>
                </a:extLst>
              </a:tr>
              <a:tr h="317844">
                <a:tc vMerge="1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ount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I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J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K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L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H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932177"/>
                  </a:ext>
                </a:extLst>
              </a:tr>
              <a:tr h="317844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UAE</a:t>
                      </a:r>
                    </a:p>
                  </a:txBody>
                  <a:tcPr anchor="ctr">
                    <a:solidFill>
                      <a:srgbClr val="004C92">
                        <a:alpha val="9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2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2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3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61</a:t>
                      </a:r>
                    </a:p>
                  </a:txBody>
                  <a:tcPr anchor="ctr"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8090800"/>
                  </a:ext>
                </a:extLst>
              </a:tr>
              <a:tr h="317844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KSA</a:t>
                      </a:r>
                    </a:p>
                  </a:txBody>
                  <a:tcPr anchor="ctr">
                    <a:solidFill>
                      <a:srgbClr val="004C92">
                        <a:alpha val="9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anchor="ctr"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840654"/>
                  </a:ext>
                </a:extLst>
              </a:tr>
              <a:tr h="317844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Oman</a:t>
                      </a:r>
                    </a:p>
                  </a:txBody>
                  <a:tcPr anchor="ctr">
                    <a:solidFill>
                      <a:srgbClr val="004C92">
                        <a:alpha val="9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</a:t>
                      </a:r>
                    </a:p>
                  </a:txBody>
                  <a:tcPr anchor="ctr"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1083747"/>
                  </a:ext>
                </a:extLst>
              </a:tr>
              <a:tr h="317844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Egypt</a:t>
                      </a:r>
                    </a:p>
                  </a:txBody>
                  <a:tcPr anchor="ctr">
                    <a:solidFill>
                      <a:srgbClr val="004C92">
                        <a:alpha val="9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1</a:t>
                      </a:r>
                    </a:p>
                  </a:txBody>
                  <a:tcPr anchor="ctr"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634343"/>
                  </a:ext>
                </a:extLst>
              </a:tr>
              <a:tr h="317844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Kenya</a:t>
                      </a:r>
                    </a:p>
                  </a:txBody>
                  <a:tcPr anchor="ctr">
                    <a:solidFill>
                      <a:srgbClr val="004C92">
                        <a:alpha val="9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7</a:t>
                      </a:r>
                    </a:p>
                  </a:txBody>
                  <a:tcPr anchor="ctr"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1903423"/>
                  </a:ext>
                </a:extLst>
              </a:tr>
              <a:tr h="317844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Pakistan</a:t>
                      </a:r>
                    </a:p>
                  </a:txBody>
                  <a:tcPr anchor="ctr">
                    <a:solidFill>
                      <a:srgbClr val="004C92">
                        <a:alpha val="9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2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6</a:t>
                      </a:r>
                    </a:p>
                  </a:txBody>
                  <a:tcPr anchor="ctr"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455285"/>
                  </a:ext>
                </a:extLst>
              </a:tr>
              <a:tr h="317844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Sri Lanka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4C92">
                        <a:alpha val="9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7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0221431"/>
                  </a:ext>
                </a:extLst>
              </a:tr>
              <a:tr h="317844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10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17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33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51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2749179"/>
                  </a:ext>
                </a:extLst>
              </a:tr>
              <a:tr h="317844">
                <a:tc v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Cohort 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Cohort 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128055"/>
                  </a:ext>
                </a:extLst>
              </a:tr>
            </a:tbl>
          </a:graphicData>
        </a:graphic>
      </p:graphicFrame>
      <p:sp>
        <p:nvSpPr>
          <p:cNvPr id="201" name="Title 11">
            <a:extLst>
              <a:ext uri="{FF2B5EF4-FFF2-40B4-BE49-F238E27FC236}">
                <a16:creationId xmlns:a16="http://schemas.microsoft.com/office/drawing/2014/main" id="{E86684B0-5A9D-7112-E417-BD587374EF40}"/>
              </a:ext>
            </a:extLst>
          </p:cNvPr>
          <p:cNvSpPr txBox="1">
            <a:spLocks/>
          </p:cNvSpPr>
          <p:nvPr/>
        </p:nvSpPr>
        <p:spPr>
          <a:xfrm>
            <a:off x="261764" y="49115"/>
            <a:ext cx="11767747" cy="715589"/>
          </a:xfrm>
          <a:prstGeom prst="rect">
            <a:avLst/>
          </a:prstGeom>
        </p:spPr>
        <p:txBody>
          <a:bodyPr vert="horz" lIns="0" tIns="60933" rIns="0" bIns="60933" rtlCol="0" anchor="ctr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862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FCEB4EBB-CC1A-FB7B-D118-1EB2181A20C4}"/>
              </a:ext>
            </a:extLst>
          </p:cNvPr>
          <p:cNvSpPr txBox="1"/>
          <p:nvPr/>
        </p:nvSpPr>
        <p:spPr>
          <a:xfrm>
            <a:off x="186883" y="139857"/>
            <a:ext cx="108896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2800" b="1" dirty="0">
                <a:solidFill>
                  <a:srgbClr val="242424"/>
                </a:solidFill>
                <a:latin typeface="Calibri" panose="020F0502020204030204"/>
              </a:rPr>
              <a:t>Target Audience Count – By Country | For Phase 1: 202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2511DB-C88B-CD3A-AB48-BD083AC8F356}"/>
              </a:ext>
            </a:extLst>
          </p:cNvPr>
          <p:cNvSpPr txBox="1"/>
          <p:nvPr/>
        </p:nvSpPr>
        <p:spPr>
          <a:xfrm>
            <a:off x="57425" y="6247737"/>
            <a:ext cx="29594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3"/>
                </a:solidFill>
              </a:rPr>
              <a:t>Awareness I Knowledge I Casca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51E8B3-F891-45F8-DE4F-B7E99BECAAFD}"/>
              </a:ext>
            </a:extLst>
          </p:cNvPr>
          <p:cNvSpPr txBox="1"/>
          <p:nvPr/>
        </p:nvSpPr>
        <p:spPr>
          <a:xfrm>
            <a:off x="6670628" y="981882"/>
            <a:ext cx="5435237" cy="3693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2024 Master KPI: </a:t>
            </a:r>
            <a:r>
              <a:rPr lang="en-US" b="1" dirty="0">
                <a:solidFill>
                  <a:schemeClr val="tx2"/>
                </a:solidFill>
              </a:rPr>
              <a:t>100% Attendance (Bands I-L)  </a:t>
            </a:r>
          </a:p>
        </p:txBody>
      </p:sp>
    </p:spTree>
    <p:extLst>
      <p:ext uri="{BB962C8B-B14F-4D97-AF65-F5344CB8AC3E}">
        <p14:creationId xmlns:p14="http://schemas.microsoft.com/office/powerpoint/2010/main" val="1687124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1">
            <a:extLst>
              <a:ext uri="{FF2B5EF4-FFF2-40B4-BE49-F238E27FC236}">
                <a16:creationId xmlns:a16="http://schemas.microsoft.com/office/drawing/2014/main" id="{8C19635A-3872-3574-6F04-3BF37C0B19BE}"/>
              </a:ext>
            </a:extLst>
          </p:cNvPr>
          <p:cNvSpPr txBox="1">
            <a:spLocks/>
          </p:cNvSpPr>
          <p:nvPr/>
        </p:nvSpPr>
        <p:spPr>
          <a:xfrm>
            <a:off x="153839" y="94785"/>
            <a:ext cx="7865449" cy="542154"/>
          </a:xfrm>
          <a:prstGeom prst="rect">
            <a:avLst/>
          </a:prstGeom>
        </p:spPr>
        <p:txBody>
          <a:bodyPr vert="horz" lIns="0" tIns="60933" rIns="0" bIns="60933" rtlCol="0" anchor="ctr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8621">
              <a:defRPr/>
            </a:pPr>
            <a:r>
              <a:rPr lang="en-US" sz="2200" b="1" dirty="0">
                <a:solidFill>
                  <a:srgbClr val="005BAA"/>
                </a:solidFill>
                <a:latin typeface="Arial"/>
              </a:rPr>
              <a:t> </a:t>
            </a:r>
            <a:r>
              <a:rPr lang="en-US" sz="2200" b="1" dirty="0">
                <a:latin typeface="Arial"/>
              </a:rPr>
              <a:t> LC 101 Roll-Out Plan (UAE/International) – Example/Draf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1191A28-887A-DF56-BD76-5AF69BC9694E}"/>
              </a:ext>
            </a:extLst>
          </p:cNvPr>
          <p:cNvCxnSpPr>
            <a:cxnSpLocks/>
          </p:cNvCxnSpPr>
          <p:nvPr/>
        </p:nvCxnSpPr>
        <p:spPr>
          <a:xfrm>
            <a:off x="-26021" y="585722"/>
            <a:ext cx="12161520" cy="0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/>
        </p:spPr>
      </p:cxn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C1B466E-EF7B-FAB4-75B9-EF80241E41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3960896"/>
              </p:ext>
            </p:extLst>
          </p:nvPr>
        </p:nvGraphicFramePr>
        <p:xfrm>
          <a:off x="158350" y="734199"/>
          <a:ext cx="11615728" cy="4684437"/>
        </p:xfrm>
        <a:graphic>
          <a:graphicData uri="http://schemas.openxmlformats.org/drawingml/2006/table">
            <a:tbl>
              <a:tblPr firstCol="1">
                <a:tableStyleId>{F5AB1C69-6EDB-4FF4-983F-18BD219EF322}</a:tableStyleId>
              </a:tblPr>
              <a:tblGrid>
                <a:gridCol w="1604458">
                  <a:extLst>
                    <a:ext uri="{9D8B030D-6E8A-4147-A177-3AD203B41FA5}">
                      <a16:colId xmlns:a16="http://schemas.microsoft.com/office/drawing/2014/main" val="3894545424"/>
                    </a:ext>
                  </a:extLst>
                </a:gridCol>
                <a:gridCol w="747486">
                  <a:extLst>
                    <a:ext uri="{9D8B030D-6E8A-4147-A177-3AD203B41FA5}">
                      <a16:colId xmlns:a16="http://schemas.microsoft.com/office/drawing/2014/main" val="56607047"/>
                    </a:ext>
                  </a:extLst>
                </a:gridCol>
                <a:gridCol w="1008673">
                  <a:extLst>
                    <a:ext uri="{9D8B030D-6E8A-4147-A177-3AD203B41FA5}">
                      <a16:colId xmlns:a16="http://schemas.microsoft.com/office/drawing/2014/main" val="3030438392"/>
                    </a:ext>
                  </a:extLst>
                </a:gridCol>
                <a:gridCol w="1008673">
                  <a:extLst>
                    <a:ext uri="{9D8B030D-6E8A-4147-A177-3AD203B41FA5}">
                      <a16:colId xmlns:a16="http://schemas.microsoft.com/office/drawing/2014/main" val="4131119772"/>
                    </a:ext>
                  </a:extLst>
                </a:gridCol>
                <a:gridCol w="1008673">
                  <a:extLst>
                    <a:ext uri="{9D8B030D-6E8A-4147-A177-3AD203B41FA5}">
                      <a16:colId xmlns:a16="http://schemas.microsoft.com/office/drawing/2014/main" val="2083155929"/>
                    </a:ext>
                  </a:extLst>
                </a:gridCol>
                <a:gridCol w="1008673">
                  <a:extLst>
                    <a:ext uri="{9D8B030D-6E8A-4147-A177-3AD203B41FA5}">
                      <a16:colId xmlns:a16="http://schemas.microsoft.com/office/drawing/2014/main" val="3625607112"/>
                    </a:ext>
                  </a:extLst>
                </a:gridCol>
                <a:gridCol w="1008674">
                  <a:extLst>
                    <a:ext uri="{9D8B030D-6E8A-4147-A177-3AD203B41FA5}">
                      <a16:colId xmlns:a16="http://schemas.microsoft.com/office/drawing/2014/main" val="1856560215"/>
                    </a:ext>
                  </a:extLst>
                </a:gridCol>
                <a:gridCol w="1008674">
                  <a:extLst>
                    <a:ext uri="{9D8B030D-6E8A-4147-A177-3AD203B41FA5}">
                      <a16:colId xmlns:a16="http://schemas.microsoft.com/office/drawing/2014/main" val="1301627937"/>
                    </a:ext>
                  </a:extLst>
                </a:gridCol>
                <a:gridCol w="1008673">
                  <a:extLst>
                    <a:ext uri="{9D8B030D-6E8A-4147-A177-3AD203B41FA5}">
                      <a16:colId xmlns:a16="http://schemas.microsoft.com/office/drawing/2014/main" val="2672102960"/>
                    </a:ext>
                  </a:extLst>
                </a:gridCol>
                <a:gridCol w="1008674">
                  <a:extLst>
                    <a:ext uri="{9D8B030D-6E8A-4147-A177-3AD203B41FA5}">
                      <a16:colId xmlns:a16="http://schemas.microsoft.com/office/drawing/2014/main" val="811181454"/>
                    </a:ext>
                  </a:extLst>
                </a:gridCol>
                <a:gridCol w="1194397">
                  <a:extLst>
                    <a:ext uri="{9D8B030D-6E8A-4147-A177-3AD203B41FA5}">
                      <a16:colId xmlns:a16="http://schemas.microsoft.com/office/drawing/2014/main" val="1051576715"/>
                    </a:ext>
                  </a:extLst>
                </a:gridCol>
              </a:tblGrid>
              <a:tr h="299917">
                <a:tc rowSpan="2"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Countri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Cohor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Band(s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Mod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# Pa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# Session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Targeted Timelin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448703"/>
                  </a:ext>
                </a:extLst>
              </a:tr>
              <a:tr h="29991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Ma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Ap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Ju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595874"/>
                  </a:ext>
                </a:extLst>
              </a:tr>
              <a:tr h="567891">
                <a:tc rowSpan="2"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UA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,J,K,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>
                          <a:solidFill>
                            <a:srgbClr val="00B050"/>
                          </a:solidFill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2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2954197"/>
                  </a:ext>
                </a:extLst>
              </a:tr>
              <a:tr h="567130">
                <a:tc vMerge="1"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3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407324"/>
                  </a:ext>
                </a:extLst>
              </a:tr>
              <a:tr h="660067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KS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i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,J,K,L,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6562874"/>
                  </a:ext>
                </a:extLst>
              </a:tr>
              <a:tr h="567130">
                <a:tc rowSpan="2"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akista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,J,K,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637694"/>
                  </a:ext>
                </a:extLst>
              </a:tr>
              <a:tr h="567130">
                <a:tc vMerge="1"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2049761"/>
                  </a:ext>
                </a:extLst>
              </a:tr>
              <a:tr h="567130">
                <a:tc rowSpan="2"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Egyp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,J,K,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929834"/>
                  </a:ext>
                </a:extLst>
              </a:tr>
              <a:tr h="567130">
                <a:tc vMerge="1"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6397901"/>
                  </a:ext>
                </a:extLst>
              </a:tr>
            </a:tbl>
          </a:graphicData>
        </a:graphic>
      </p:graphicFrame>
      <p:sp>
        <p:nvSpPr>
          <p:cNvPr id="46" name="TextBox 45">
            <a:extLst>
              <a:ext uri="{FF2B5EF4-FFF2-40B4-BE49-F238E27FC236}">
                <a16:creationId xmlns:a16="http://schemas.microsoft.com/office/drawing/2014/main" id="{1B78C55E-FCD5-4A6D-CF20-FC76ED2FDA10}"/>
              </a:ext>
            </a:extLst>
          </p:cNvPr>
          <p:cNvSpPr txBox="1"/>
          <p:nvPr/>
        </p:nvSpPr>
        <p:spPr>
          <a:xfrm>
            <a:off x="7171344" y="5666873"/>
            <a:ext cx="227366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External Partner</a:t>
            </a:r>
          </a:p>
          <a:p>
            <a:r>
              <a:rPr lang="en-US" sz="1100" dirty="0"/>
              <a:t>Estimate no. of </a:t>
            </a:r>
          </a:p>
          <a:p>
            <a:r>
              <a:rPr lang="en-US" sz="1100" dirty="0"/>
              <a:t>sessions-1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B33EC1-B716-2FAC-2204-F9E66F85343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27869" t="4151" r="26939" b="16618"/>
          <a:stretch/>
        </p:blipFill>
        <p:spPr>
          <a:xfrm>
            <a:off x="3577783" y="1354464"/>
            <a:ext cx="312939" cy="54864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AC65C6-4116-0A81-03B1-B582F3F2DE4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27869" t="4151" r="26939" b="16618"/>
          <a:stretch/>
        </p:blipFill>
        <p:spPr>
          <a:xfrm>
            <a:off x="6858405" y="5725288"/>
            <a:ext cx="312939" cy="54864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3939CB5-2052-C1AE-8C1E-C2745CC97BD4}"/>
              </a:ext>
            </a:extLst>
          </p:cNvPr>
          <p:cNvCxnSpPr/>
          <p:nvPr/>
        </p:nvCxnSpPr>
        <p:spPr>
          <a:xfrm>
            <a:off x="3961248" y="1430428"/>
            <a:ext cx="0" cy="35661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6351A0E7-1F91-6C27-AE55-E9A354E98F0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3032" t="6936" r="24446" b="24492"/>
          <a:stretch/>
        </p:blipFill>
        <p:spPr>
          <a:xfrm>
            <a:off x="4086563" y="1380136"/>
            <a:ext cx="350193" cy="4572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3F4DB2A-5A7B-FA43-6C49-8AA324939B6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3032" t="6936" r="24446" b="24492"/>
          <a:stretch/>
        </p:blipFill>
        <p:spPr>
          <a:xfrm>
            <a:off x="9214648" y="5691270"/>
            <a:ext cx="350193" cy="4572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3F9B4F2-8F29-D689-3117-F3FF15036CB5}"/>
              </a:ext>
            </a:extLst>
          </p:cNvPr>
          <p:cNvSpPr txBox="1"/>
          <p:nvPr/>
        </p:nvSpPr>
        <p:spPr>
          <a:xfrm>
            <a:off x="9544044" y="5648121"/>
            <a:ext cx="1554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Internal</a:t>
            </a:r>
          </a:p>
          <a:p>
            <a:r>
              <a:rPr lang="en-US" sz="1200" dirty="0"/>
              <a:t>Est. no. of session- </a:t>
            </a:r>
          </a:p>
          <a:p>
            <a:r>
              <a:rPr lang="en-US" sz="1200" dirty="0"/>
              <a:t>40-45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7865299-9D69-B5EA-A129-AE4067E8350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3032" t="6936" r="24446" b="24492"/>
          <a:stretch/>
        </p:blipFill>
        <p:spPr>
          <a:xfrm>
            <a:off x="3831512" y="1939078"/>
            <a:ext cx="350193" cy="4572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189E7A0-A3C8-A8E4-B159-1F8BF55826A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3032" t="6936" r="24446" b="24492"/>
          <a:stretch/>
        </p:blipFill>
        <p:spPr>
          <a:xfrm>
            <a:off x="3831513" y="2584782"/>
            <a:ext cx="350193" cy="457200"/>
          </a:xfrm>
          <a:prstGeom prst="rect">
            <a:avLst/>
          </a:prstGeom>
        </p:spPr>
      </p:pic>
      <p:sp>
        <p:nvSpPr>
          <p:cNvPr id="42" name="Arrow: Pentagon 41">
            <a:extLst>
              <a:ext uri="{FF2B5EF4-FFF2-40B4-BE49-F238E27FC236}">
                <a16:creationId xmlns:a16="http://schemas.microsoft.com/office/drawing/2014/main" id="{C3F4EBE5-1C41-81AB-33CA-1E061450B17D}"/>
              </a:ext>
            </a:extLst>
          </p:cNvPr>
          <p:cNvSpPr/>
          <p:nvPr/>
        </p:nvSpPr>
        <p:spPr>
          <a:xfrm>
            <a:off x="6578224" y="1421087"/>
            <a:ext cx="1645920" cy="356616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0" name="Arrow: Pentagon 49">
            <a:extLst>
              <a:ext uri="{FF2B5EF4-FFF2-40B4-BE49-F238E27FC236}">
                <a16:creationId xmlns:a16="http://schemas.microsoft.com/office/drawing/2014/main" id="{30B5AC86-93B2-37B0-6C44-2EF1CBECF308}"/>
              </a:ext>
            </a:extLst>
          </p:cNvPr>
          <p:cNvSpPr/>
          <p:nvPr/>
        </p:nvSpPr>
        <p:spPr>
          <a:xfrm>
            <a:off x="8732924" y="1471379"/>
            <a:ext cx="2070193" cy="347472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1" name="Arrow: Pentagon 50">
            <a:extLst>
              <a:ext uri="{FF2B5EF4-FFF2-40B4-BE49-F238E27FC236}">
                <a16:creationId xmlns:a16="http://schemas.microsoft.com/office/drawing/2014/main" id="{F698D661-88C2-3D26-56B6-1688EEEAD4B6}"/>
              </a:ext>
            </a:extLst>
          </p:cNvPr>
          <p:cNvSpPr/>
          <p:nvPr/>
        </p:nvSpPr>
        <p:spPr>
          <a:xfrm>
            <a:off x="9601604" y="3264048"/>
            <a:ext cx="1980719" cy="322577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2" name="Arrow: Pentagon 51">
            <a:extLst>
              <a:ext uri="{FF2B5EF4-FFF2-40B4-BE49-F238E27FC236}">
                <a16:creationId xmlns:a16="http://schemas.microsoft.com/office/drawing/2014/main" id="{AFBCEFC0-7668-FDD6-1124-BF1C93091B29}"/>
              </a:ext>
            </a:extLst>
          </p:cNvPr>
          <p:cNvSpPr/>
          <p:nvPr/>
        </p:nvSpPr>
        <p:spPr>
          <a:xfrm>
            <a:off x="8732924" y="1982104"/>
            <a:ext cx="2804039" cy="309516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3" name="Arrow: Pentagon 52">
            <a:extLst>
              <a:ext uri="{FF2B5EF4-FFF2-40B4-BE49-F238E27FC236}">
                <a16:creationId xmlns:a16="http://schemas.microsoft.com/office/drawing/2014/main" id="{CB23FAA9-CCE5-F2D7-DFA6-39D9408C0C93}"/>
              </a:ext>
            </a:extLst>
          </p:cNvPr>
          <p:cNvSpPr/>
          <p:nvPr/>
        </p:nvSpPr>
        <p:spPr>
          <a:xfrm>
            <a:off x="10574927" y="2626963"/>
            <a:ext cx="1007396" cy="373209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7" name="Arrow: Pentagon 56">
            <a:extLst>
              <a:ext uri="{FF2B5EF4-FFF2-40B4-BE49-F238E27FC236}">
                <a16:creationId xmlns:a16="http://schemas.microsoft.com/office/drawing/2014/main" id="{CFF557A0-AB15-45A7-69FC-FB349C641D47}"/>
              </a:ext>
            </a:extLst>
          </p:cNvPr>
          <p:cNvSpPr/>
          <p:nvPr/>
        </p:nvSpPr>
        <p:spPr>
          <a:xfrm>
            <a:off x="9601605" y="3818023"/>
            <a:ext cx="1980720" cy="381312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8" name="Arrow: Pentagon 57">
            <a:extLst>
              <a:ext uri="{FF2B5EF4-FFF2-40B4-BE49-F238E27FC236}">
                <a16:creationId xmlns:a16="http://schemas.microsoft.com/office/drawing/2014/main" id="{BB418DB0-410D-ACAA-CABB-440E8923F972}"/>
              </a:ext>
            </a:extLst>
          </p:cNvPr>
          <p:cNvSpPr/>
          <p:nvPr/>
        </p:nvSpPr>
        <p:spPr>
          <a:xfrm>
            <a:off x="10713645" y="4449927"/>
            <a:ext cx="868680" cy="324753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9" name="Arrow: Pentagon 58">
            <a:extLst>
              <a:ext uri="{FF2B5EF4-FFF2-40B4-BE49-F238E27FC236}">
                <a16:creationId xmlns:a16="http://schemas.microsoft.com/office/drawing/2014/main" id="{005B50CD-0D6F-184A-CE4D-69FB9CEF435D}"/>
              </a:ext>
            </a:extLst>
          </p:cNvPr>
          <p:cNvSpPr/>
          <p:nvPr/>
        </p:nvSpPr>
        <p:spPr>
          <a:xfrm>
            <a:off x="10713645" y="5025272"/>
            <a:ext cx="868680" cy="324753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248137D2-0FEC-65E9-686F-4893D6E7F9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3032" t="6936" r="24446" b="24492"/>
          <a:stretch/>
        </p:blipFill>
        <p:spPr>
          <a:xfrm>
            <a:off x="3806030" y="4603200"/>
            <a:ext cx="350193" cy="457200"/>
          </a:xfrm>
          <a:prstGeom prst="rect">
            <a:avLst/>
          </a:prstGeom>
        </p:spPr>
      </p:pic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D6D7AC2-8816-8445-B763-4A701F78AFFE}"/>
              </a:ext>
            </a:extLst>
          </p:cNvPr>
          <p:cNvCxnSpPr/>
          <p:nvPr/>
        </p:nvCxnSpPr>
        <p:spPr>
          <a:xfrm>
            <a:off x="3916829" y="4653492"/>
            <a:ext cx="0" cy="35661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82D76F6B-465D-A91C-2EF2-63811F0F71EC}"/>
              </a:ext>
            </a:extLst>
          </p:cNvPr>
          <p:cNvSpPr/>
          <p:nvPr/>
        </p:nvSpPr>
        <p:spPr>
          <a:xfrm>
            <a:off x="1181995" y="1787704"/>
            <a:ext cx="365760" cy="365760"/>
          </a:xfrm>
          <a:prstGeom prst="ellipse">
            <a:avLst/>
          </a:prstGeom>
          <a:blipFill dpi="0" rotWithShape="1">
            <a:blip r:embed="rId4"/>
            <a:srcRect/>
            <a:tile tx="6350" ty="0" sx="5000" sy="10000" flip="xy" algn="ctr"/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2A95508-2597-41DA-C7B2-5DBFADF5692F}"/>
              </a:ext>
            </a:extLst>
          </p:cNvPr>
          <p:cNvSpPr/>
          <p:nvPr/>
        </p:nvSpPr>
        <p:spPr>
          <a:xfrm>
            <a:off x="1181995" y="2662800"/>
            <a:ext cx="365760" cy="365760"/>
          </a:xfrm>
          <a:prstGeom prst="ellipse">
            <a:avLst/>
          </a:prstGeom>
          <a:blipFill dpi="0" rotWithShape="1">
            <a:blip r:embed="rId5"/>
            <a:srcRect/>
            <a:tile tx="0" ty="0" sx="10000" sy="10000" flip="xy" algn="ctr"/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3298041-326D-2103-F998-66FDAB6A6E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1995" y="3603546"/>
            <a:ext cx="365760" cy="36576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24E602E4-43C0-E18B-6F1A-EBA8CE027E9C}"/>
              </a:ext>
            </a:extLst>
          </p:cNvPr>
          <p:cNvSpPr/>
          <p:nvPr/>
        </p:nvSpPr>
        <p:spPr>
          <a:xfrm>
            <a:off x="1181995" y="4753518"/>
            <a:ext cx="365760" cy="365760"/>
          </a:xfrm>
          <a:prstGeom prst="ellipse">
            <a:avLst/>
          </a:prstGeom>
          <a:blipFill dpi="0" rotWithShape="1">
            <a:blip r:embed="rId7"/>
            <a:srcRect/>
            <a:tile tx="6350" ty="0" sx="10000" sy="10000" flip="xy" algn="ctr"/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Up-Down 13">
            <a:extLst>
              <a:ext uri="{FF2B5EF4-FFF2-40B4-BE49-F238E27FC236}">
                <a16:creationId xmlns:a16="http://schemas.microsoft.com/office/drawing/2014/main" id="{64E8DC02-879D-6ADB-31EF-7DEA416EE2D8}"/>
              </a:ext>
            </a:extLst>
          </p:cNvPr>
          <p:cNvSpPr/>
          <p:nvPr/>
        </p:nvSpPr>
        <p:spPr>
          <a:xfrm>
            <a:off x="7310695" y="1896575"/>
            <a:ext cx="1097280" cy="3383280"/>
          </a:xfrm>
          <a:prstGeom prst="upDownArrow">
            <a:avLst/>
          </a:prstGeom>
          <a:solidFill>
            <a:srgbClr val="FAB8CB">
              <a:alpha val="65098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Ramadan</a:t>
            </a:r>
          </a:p>
        </p:txBody>
      </p:sp>
      <p:sp>
        <p:nvSpPr>
          <p:cNvPr id="2" name="Plus Sign 1">
            <a:extLst>
              <a:ext uri="{FF2B5EF4-FFF2-40B4-BE49-F238E27FC236}">
                <a16:creationId xmlns:a16="http://schemas.microsoft.com/office/drawing/2014/main" id="{D3C4E5D1-17FC-D5C0-9173-2689CE756A27}"/>
              </a:ext>
            </a:extLst>
          </p:cNvPr>
          <p:cNvSpPr/>
          <p:nvPr/>
        </p:nvSpPr>
        <p:spPr>
          <a:xfrm>
            <a:off x="8658591" y="5848200"/>
            <a:ext cx="182880" cy="182880"/>
          </a:xfrm>
          <a:prstGeom prst="mathPlus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Equals 12">
            <a:extLst>
              <a:ext uri="{FF2B5EF4-FFF2-40B4-BE49-F238E27FC236}">
                <a16:creationId xmlns:a16="http://schemas.microsoft.com/office/drawing/2014/main" id="{742C9F82-D9BB-0250-C35F-11F01C18E1DA}"/>
              </a:ext>
            </a:extLst>
          </p:cNvPr>
          <p:cNvSpPr/>
          <p:nvPr/>
        </p:nvSpPr>
        <p:spPr>
          <a:xfrm>
            <a:off x="11012869" y="5860236"/>
            <a:ext cx="184689" cy="228600"/>
          </a:xfrm>
          <a:prstGeom prst="mathEqual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D943E7B-0688-8C9B-4BB0-194C7FD33814}"/>
              </a:ext>
            </a:extLst>
          </p:cNvPr>
          <p:cNvSpPr txBox="1"/>
          <p:nvPr/>
        </p:nvSpPr>
        <p:spPr>
          <a:xfrm>
            <a:off x="11197558" y="5788769"/>
            <a:ext cx="8144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50-5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DD41A7-6662-863C-017A-F01C5B03FF5F}"/>
              </a:ext>
            </a:extLst>
          </p:cNvPr>
          <p:cNvSpPr txBox="1"/>
          <p:nvPr/>
        </p:nvSpPr>
        <p:spPr>
          <a:xfrm>
            <a:off x="93245" y="5636313"/>
            <a:ext cx="68580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ril light due to Ramadan/Eid Brea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countries wherein single cohort doesn’t meet minimum participant requirement have include Band H employe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Duration: 3 Hour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% buffer for potential drop-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C87C491-580D-1410-274E-9BC5B192B50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3032" t="6936" r="24446" b="24492"/>
          <a:stretch/>
        </p:blipFill>
        <p:spPr>
          <a:xfrm>
            <a:off x="3824889" y="3492555"/>
            <a:ext cx="3501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2132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1191A28-887A-DF56-BD76-5AF69BC9694E}"/>
              </a:ext>
            </a:extLst>
          </p:cNvPr>
          <p:cNvCxnSpPr>
            <a:cxnSpLocks/>
          </p:cNvCxnSpPr>
          <p:nvPr/>
        </p:nvCxnSpPr>
        <p:spPr>
          <a:xfrm>
            <a:off x="-49360" y="635965"/>
            <a:ext cx="12241360" cy="0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/>
        </p:spPr>
      </p:cxn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C1B466E-EF7B-FAB4-75B9-EF80241E413F}"/>
              </a:ext>
            </a:extLst>
          </p:cNvPr>
          <p:cNvGraphicFramePr>
            <a:graphicFrameLocks noGrp="1"/>
          </p:cNvGraphicFramePr>
          <p:nvPr/>
        </p:nvGraphicFramePr>
        <p:xfrm>
          <a:off x="380997" y="996704"/>
          <a:ext cx="11430005" cy="3899201"/>
        </p:xfrm>
        <a:graphic>
          <a:graphicData uri="http://schemas.openxmlformats.org/drawingml/2006/table">
            <a:tbl>
              <a:tblPr firstCol="1">
                <a:tableStyleId>{F5AB1C69-6EDB-4FF4-983F-18BD219EF322}</a:tableStyleId>
              </a:tblPr>
              <a:tblGrid>
                <a:gridCol w="1632739">
                  <a:extLst>
                    <a:ext uri="{9D8B030D-6E8A-4147-A177-3AD203B41FA5}">
                      <a16:colId xmlns:a16="http://schemas.microsoft.com/office/drawing/2014/main" val="3894545424"/>
                    </a:ext>
                  </a:extLst>
                </a:gridCol>
                <a:gridCol w="1008668">
                  <a:extLst>
                    <a:ext uri="{9D8B030D-6E8A-4147-A177-3AD203B41FA5}">
                      <a16:colId xmlns:a16="http://schemas.microsoft.com/office/drawing/2014/main" val="56607047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030438392"/>
                    </a:ext>
                  </a:extLst>
                </a:gridCol>
                <a:gridCol w="1055802">
                  <a:extLst>
                    <a:ext uri="{9D8B030D-6E8A-4147-A177-3AD203B41FA5}">
                      <a16:colId xmlns:a16="http://schemas.microsoft.com/office/drawing/2014/main" val="4131119772"/>
                    </a:ext>
                  </a:extLst>
                </a:gridCol>
                <a:gridCol w="1131216">
                  <a:extLst>
                    <a:ext uri="{9D8B030D-6E8A-4147-A177-3AD203B41FA5}">
                      <a16:colId xmlns:a16="http://schemas.microsoft.com/office/drawing/2014/main" val="2083155929"/>
                    </a:ext>
                  </a:extLst>
                </a:gridCol>
                <a:gridCol w="942681">
                  <a:extLst>
                    <a:ext uri="{9D8B030D-6E8A-4147-A177-3AD203B41FA5}">
                      <a16:colId xmlns:a16="http://schemas.microsoft.com/office/drawing/2014/main" val="3625607112"/>
                    </a:ext>
                  </a:extLst>
                </a:gridCol>
                <a:gridCol w="709804">
                  <a:extLst>
                    <a:ext uri="{9D8B030D-6E8A-4147-A177-3AD203B41FA5}">
                      <a16:colId xmlns:a16="http://schemas.microsoft.com/office/drawing/2014/main" val="1856560215"/>
                    </a:ext>
                  </a:extLst>
                </a:gridCol>
                <a:gridCol w="1008674">
                  <a:extLst>
                    <a:ext uri="{9D8B030D-6E8A-4147-A177-3AD203B41FA5}">
                      <a16:colId xmlns:a16="http://schemas.microsoft.com/office/drawing/2014/main" val="1301627937"/>
                    </a:ext>
                  </a:extLst>
                </a:gridCol>
                <a:gridCol w="1008673">
                  <a:extLst>
                    <a:ext uri="{9D8B030D-6E8A-4147-A177-3AD203B41FA5}">
                      <a16:colId xmlns:a16="http://schemas.microsoft.com/office/drawing/2014/main" val="2672102960"/>
                    </a:ext>
                  </a:extLst>
                </a:gridCol>
                <a:gridCol w="1008674">
                  <a:extLst>
                    <a:ext uri="{9D8B030D-6E8A-4147-A177-3AD203B41FA5}">
                      <a16:colId xmlns:a16="http://schemas.microsoft.com/office/drawing/2014/main" val="811181454"/>
                    </a:ext>
                  </a:extLst>
                </a:gridCol>
                <a:gridCol w="1008674">
                  <a:extLst>
                    <a:ext uri="{9D8B030D-6E8A-4147-A177-3AD203B41FA5}">
                      <a16:colId xmlns:a16="http://schemas.microsoft.com/office/drawing/2014/main" val="1051576715"/>
                    </a:ext>
                  </a:extLst>
                </a:gridCol>
              </a:tblGrid>
              <a:tr h="345987">
                <a:tc rowSpan="2"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Countri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Cohor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Ban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Mod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# Pa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# Session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Targeted Timelin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448703"/>
                  </a:ext>
                </a:extLst>
              </a:tr>
              <a:tr h="3459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Ma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Ap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Ju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595874"/>
                  </a:ext>
                </a:extLst>
              </a:tr>
              <a:tr h="691979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Sri Lank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ix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,J,H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7179939"/>
                  </a:ext>
                </a:extLst>
              </a:tr>
              <a:tr h="75070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Oma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ix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,J,K,L,H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>
                          <a:solidFill>
                            <a:srgbClr val="00B050"/>
                          </a:solidFill>
                        </a:rPr>
                        <a:t> 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2954197"/>
                  </a:ext>
                </a:extLst>
              </a:tr>
              <a:tr h="691979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Qatar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ix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,J,K,L,H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6562874"/>
                  </a:ext>
                </a:extLst>
              </a:tr>
              <a:tr h="536283">
                <a:tc rowSpan="2"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Keny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,J,K,L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637694"/>
                  </a:ext>
                </a:extLst>
              </a:tr>
              <a:tr h="536283">
                <a:tc vMerge="1"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2049761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6351A0E7-1F91-6C27-AE55-E9A354E98F0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3032" t="6936" r="24446" b="24492"/>
          <a:stretch/>
        </p:blipFill>
        <p:spPr>
          <a:xfrm>
            <a:off x="4257820" y="2466403"/>
            <a:ext cx="350193" cy="4572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189E7A0-A3C8-A8E4-B159-1F8BF55826A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3032" t="6936" r="24446" b="24492"/>
          <a:stretch/>
        </p:blipFill>
        <p:spPr>
          <a:xfrm>
            <a:off x="4248189" y="4044575"/>
            <a:ext cx="350193" cy="457200"/>
          </a:xfrm>
          <a:prstGeom prst="rect">
            <a:avLst/>
          </a:prstGeom>
        </p:spPr>
      </p:pic>
      <p:sp>
        <p:nvSpPr>
          <p:cNvPr id="50" name="Arrow: Pentagon 49">
            <a:extLst>
              <a:ext uri="{FF2B5EF4-FFF2-40B4-BE49-F238E27FC236}">
                <a16:creationId xmlns:a16="http://schemas.microsoft.com/office/drawing/2014/main" id="{30B5AC86-93B2-37B0-6C44-2EF1CBECF308}"/>
              </a:ext>
            </a:extLst>
          </p:cNvPr>
          <p:cNvSpPr/>
          <p:nvPr/>
        </p:nvSpPr>
        <p:spPr>
          <a:xfrm>
            <a:off x="8897128" y="1810841"/>
            <a:ext cx="887721" cy="356616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1FB2C5C-BD3C-17CD-4CB5-C8077E7D8FC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3032" t="6936" r="24446" b="24492"/>
          <a:stretch/>
        </p:blipFill>
        <p:spPr>
          <a:xfrm>
            <a:off x="4257863" y="3198751"/>
            <a:ext cx="350193" cy="457200"/>
          </a:xfrm>
          <a:prstGeom prst="rect">
            <a:avLst/>
          </a:prstGeom>
        </p:spPr>
      </p:pic>
      <p:sp>
        <p:nvSpPr>
          <p:cNvPr id="9" name="Arrow: Pentagon 8">
            <a:extLst>
              <a:ext uri="{FF2B5EF4-FFF2-40B4-BE49-F238E27FC236}">
                <a16:creationId xmlns:a16="http://schemas.microsoft.com/office/drawing/2014/main" id="{053D1A1F-3AAB-78BD-529E-32E0F7FE1EA3}"/>
              </a:ext>
            </a:extLst>
          </p:cNvPr>
          <p:cNvSpPr/>
          <p:nvPr/>
        </p:nvSpPr>
        <p:spPr>
          <a:xfrm>
            <a:off x="9760841" y="3836768"/>
            <a:ext cx="887721" cy="356616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B9CA67D0-455F-B4EA-58D3-313227BC8B00}"/>
              </a:ext>
            </a:extLst>
          </p:cNvPr>
          <p:cNvSpPr/>
          <p:nvPr/>
        </p:nvSpPr>
        <p:spPr>
          <a:xfrm>
            <a:off x="10717062" y="3159606"/>
            <a:ext cx="887721" cy="356616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B17E74EF-6E02-3E10-AACB-3403785FA4FA}"/>
              </a:ext>
            </a:extLst>
          </p:cNvPr>
          <p:cNvSpPr/>
          <p:nvPr/>
        </p:nvSpPr>
        <p:spPr>
          <a:xfrm>
            <a:off x="9760840" y="4357470"/>
            <a:ext cx="887721" cy="356616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54" name="Picture 6" descr="Green red, Oman, flag, round World Flags, emoticon png | PNGWing">
            <a:extLst>
              <a:ext uri="{FF2B5EF4-FFF2-40B4-BE49-F238E27FC236}">
                <a16:creationId xmlns:a16="http://schemas.microsoft.com/office/drawing/2014/main" id="{961EDEA4-F056-C5FE-C734-9EC649A3E1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67" b="89844" l="10000" r="90000">
                        <a14:foregroundMark x1="43696" y1="2344" x2="36413" y2="6641"/>
                        <a14:foregroundMark x1="36413" y1="6641" x2="23804" y2="34375"/>
                        <a14:foregroundMark x1="23804" y1="34375" x2="21087" y2="62695"/>
                        <a14:foregroundMark x1="21087" y1="62695" x2="34565" y2="88672"/>
                        <a14:foregroundMark x1="34565" y1="88672" x2="51413" y2="98242"/>
                        <a14:foregroundMark x1="51413" y1="98242" x2="68478" y2="86914"/>
                        <a14:foregroundMark x1="68478" y1="86914" x2="75000" y2="72266"/>
                        <a14:foregroundMark x1="75000" y1="72266" x2="77174" y2="40820"/>
                        <a14:foregroundMark x1="77174" y1="40820" x2="68043" y2="15039"/>
                        <a14:foregroundMark x1="68043" y1="15039" x2="61957" y2="5664"/>
                        <a14:foregroundMark x1="61957" y1="5664" x2="45326" y2="1367"/>
                        <a14:foregroundMark x1="45326" y1="1367" x2="42717" y2="2539"/>
                        <a14:foregroundMark x1="37391" y1="11719" x2="40978" y2="17969"/>
                        <a14:foregroundMark x1="37826" y1="28320" x2="43478" y2="35742"/>
                        <a14:foregroundMark x1="43478" y1="35742" x2="53043" y2="36719"/>
                        <a14:foregroundMark x1="53043" y1="36719" x2="65217" y2="34570"/>
                        <a14:foregroundMark x1="65217" y1="34570" x2="72717" y2="34961"/>
                        <a14:foregroundMark x1="72717" y1="34961" x2="50543" y2="37109"/>
                        <a14:foregroundMark x1="50543" y1="37109" x2="73370" y2="31836"/>
                        <a14:foregroundMark x1="73370" y1="31836" x2="66087" y2="12500"/>
                        <a14:foregroundMark x1="66087" y1="12500" x2="61196" y2="4297"/>
                        <a14:foregroundMark x1="61196" y1="4297" x2="46957" y2="1563"/>
                        <a14:foregroundMark x1="46957" y1="1563" x2="58696" y2="5469"/>
                        <a14:foregroundMark x1="58696" y1="5469" x2="41196" y2="5664"/>
                        <a14:foregroundMark x1="41196" y1="5664" x2="36957" y2="9766"/>
                        <a14:foregroundMark x1="42717" y1="9570" x2="49674" y2="5664"/>
                        <a14:foregroundMark x1="49674" y1="5664" x2="58804" y2="6055"/>
                        <a14:foregroundMark x1="58804" y1="6055" x2="66848" y2="15234"/>
                        <a14:foregroundMark x1="66848" y1="15234" x2="69783" y2="24805"/>
                        <a14:foregroundMark x1="69783" y1="24805" x2="64239" y2="31445"/>
                        <a14:foregroundMark x1="64239" y1="31445" x2="50978" y2="34766"/>
                        <a14:foregroundMark x1="50978" y1="34766" x2="44565" y2="33398"/>
                        <a14:foregroundMark x1="44565" y1="33398" x2="40217" y2="27344"/>
                        <a14:foregroundMark x1="40217" y1="27344" x2="39565" y2="23828"/>
                        <a14:foregroundMark x1="41413" y1="18359" x2="45978" y2="10547"/>
                        <a14:foregroundMark x1="45978" y1="10547" x2="51848" y2="6641"/>
                        <a14:foregroundMark x1="51848" y1="6641" x2="59783" y2="7813"/>
                        <a14:foregroundMark x1="59783" y1="7813" x2="65326" y2="14063"/>
                        <a14:foregroundMark x1="65326" y1="14063" x2="67500" y2="25977"/>
                        <a14:foregroundMark x1="67500" y1="25977" x2="47174" y2="33398"/>
                        <a14:foregroundMark x1="47174" y1="33398" x2="43587" y2="25391"/>
                        <a14:foregroundMark x1="43587" y1="25391" x2="63587" y2="34766"/>
                        <a14:foregroundMark x1="63587" y1="34766" x2="67174" y2="25000"/>
                        <a14:foregroundMark x1="67174" y1="25000" x2="57174" y2="27148"/>
                        <a14:foregroundMark x1="57174" y1="27148" x2="61739" y2="20508"/>
                        <a14:foregroundMark x1="61739" y1="20508" x2="51304" y2="23633"/>
                        <a14:foregroundMark x1="51304" y1="23633" x2="55543" y2="17188"/>
                        <a14:foregroundMark x1="55543" y1="17188" x2="49239" y2="18359"/>
                        <a14:foregroundMark x1="49239" y1="18359" x2="54674" y2="17773"/>
                        <a14:foregroundMark x1="54674" y1="17773" x2="48804" y2="22852"/>
                        <a14:foregroundMark x1="48804" y1="22852" x2="49783" y2="11133"/>
                        <a14:foregroundMark x1="49783" y1="11133" x2="42935" y2="13477"/>
                        <a14:foregroundMark x1="42935" y1="13477" x2="50217" y2="10352"/>
                        <a14:foregroundMark x1="50217" y1="10352" x2="56196" y2="20313"/>
                        <a14:foregroundMark x1="56196" y1="20313" x2="61848" y2="16602"/>
                        <a14:foregroundMark x1="61848" y1="16602" x2="65870" y2="24414"/>
                        <a14:foregroundMark x1="65870" y1="24414" x2="57174" y2="15820"/>
                        <a14:foregroundMark x1="57174" y1="15820" x2="65109" y2="28516"/>
                        <a14:foregroundMark x1="65109" y1="28516" x2="45543" y2="39648"/>
                        <a14:foregroundMark x1="45543" y1="39648" x2="49783" y2="22266"/>
                        <a14:foregroundMark x1="49783" y1="22266" x2="45435" y2="2656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207" y="2532888"/>
            <a:ext cx="657224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rrow: Up-Down 5">
            <a:extLst>
              <a:ext uri="{FF2B5EF4-FFF2-40B4-BE49-F238E27FC236}">
                <a16:creationId xmlns:a16="http://schemas.microsoft.com/office/drawing/2014/main" id="{A690322D-B695-CBAF-6298-7A947E1E0033}"/>
              </a:ext>
            </a:extLst>
          </p:cNvPr>
          <p:cNvSpPr/>
          <p:nvPr/>
        </p:nvSpPr>
        <p:spPr>
          <a:xfrm>
            <a:off x="7359278" y="1734333"/>
            <a:ext cx="1097280" cy="3108960"/>
          </a:xfrm>
          <a:prstGeom prst="upDownArrow">
            <a:avLst/>
          </a:prstGeom>
          <a:solidFill>
            <a:srgbClr val="FAB8CB">
              <a:alpha val="65098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ada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848B158-00BE-52B7-EA1B-17B7D8E3C2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728120" y="890135"/>
            <a:ext cx="45719" cy="45719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D885D186-3EEA-B1E3-8F11-4207B35ED1D6}"/>
              </a:ext>
            </a:extLst>
          </p:cNvPr>
          <p:cNvSpPr/>
          <p:nvPr/>
        </p:nvSpPr>
        <p:spPr>
          <a:xfrm>
            <a:off x="1444049" y="3204715"/>
            <a:ext cx="365760" cy="365760"/>
          </a:xfrm>
          <a:prstGeom prst="ellipse">
            <a:avLst/>
          </a:prstGeom>
          <a:blipFill dpi="0" rotWithShape="1">
            <a:blip r:embed="rId6" cstate="print"/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D00D02-9D9C-1D2C-DFE8-2F46952C708A}"/>
              </a:ext>
            </a:extLst>
          </p:cNvPr>
          <p:cNvSpPr txBox="1"/>
          <p:nvPr/>
        </p:nvSpPr>
        <p:spPr>
          <a:xfrm>
            <a:off x="7370124" y="5617178"/>
            <a:ext cx="18288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ernal Part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imate no. of sessions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- 15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AB1DEA4-8890-BDB1-028A-95DD7B7172A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27869" t="4151" r="26939" b="16618"/>
          <a:stretch/>
        </p:blipFill>
        <p:spPr>
          <a:xfrm>
            <a:off x="7057185" y="5675593"/>
            <a:ext cx="312939" cy="54864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1D05A8F-D65D-54FD-E6CF-029649DC36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3032" t="6936" r="24446" b="24492"/>
          <a:stretch/>
        </p:blipFill>
        <p:spPr>
          <a:xfrm>
            <a:off x="9294160" y="5611758"/>
            <a:ext cx="350193" cy="4572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EEB0227-348C-BBF8-8CDD-085E8CFCCA99}"/>
              </a:ext>
            </a:extLst>
          </p:cNvPr>
          <p:cNvSpPr txBox="1"/>
          <p:nvPr/>
        </p:nvSpPr>
        <p:spPr>
          <a:xfrm>
            <a:off x="9623556" y="5598426"/>
            <a:ext cx="1554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. no. of session-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-45</a:t>
            </a:r>
          </a:p>
        </p:txBody>
      </p:sp>
      <p:sp>
        <p:nvSpPr>
          <p:cNvPr id="28" name="Plus Sign 27">
            <a:extLst>
              <a:ext uri="{FF2B5EF4-FFF2-40B4-BE49-F238E27FC236}">
                <a16:creationId xmlns:a16="http://schemas.microsoft.com/office/drawing/2014/main" id="{3F740400-2F57-9215-FF91-FD8BB92F6D4C}"/>
              </a:ext>
            </a:extLst>
          </p:cNvPr>
          <p:cNvSpPr/>
          <p:nvPr/>
        </p:nvSpPr>
        <p:spPr>
          <a:xfrm>
            <a:off x="9036274" y="5798505"/>
            <a:ext cx="182880" cy="182880"/>
          </a:xfrm>
          <a:prstGeom prst="mathPlus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Equals 28">
            <a:extLst>
              <a:ext uri="{FF2B5EF4-FFF2-40B4-BE49-F238E27FC236}">
                <a16:creationId xmlns:a16="http://schemas.microsoft.com/office/drawing/2014/main" id="{BF071E76-1E48-702B-7E0C-482497546F6B}"/>
              </a:ext>
            </a:extLst>
          </p:cNvPr>
          <p:cNvSpPr/>
          <p:nvPr/>
        </p:nvSpPr>
        <p:spPr>
          <a:xfrm>
            <a:off x="11092381" y="5810541"/>
            <a:ext cx="184689" cy="228600"/>
          </a:xfrm>
          <a:prstGeom prst="mathEqual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9164AA2-9086-2D45-CCE9-5731017CAD24}"/>
              </a:ext>
            </a:extLst>
          </p:cNvPr>
          <p:cNvSpPr txBox="1"/>
          <p:nvPr/>
        </p:nvSpPr>
        <p:spPr>
          <a:xfrm>
            <a:off x="11277070" y="5739074"/>
            <a:ext cx="8144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9525">
                  <a:solidFill>
                    <a:srgbClr val="FFFFFF"/>
                  </a:solidFill>
                  <a:prstDash val="solid"/>
                </a:ln>
                <a:solidFill>
                  <a:srgbClr val="238077"/>
                </a:solidFill>
                <a:effectLst>
                  <a:outerShdw blurRad="12700" dist="38100" dir="2700000" algn="tl" rotWithShape="0">
                    <a:srgbClr val="238077">
                      <a:lumMod val="60000"/>
                      <a:lumOff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50-55</a:t>
            </a:r>
          </a:p>
        </p:txBody>
      </p:sp>
      <p:sp>
        <p:nvSpPr>
          <p:cNvPr id="32" name="Title 11">
            <a:extLst>
              <a:ext uri="{FF2B5EF4-FFF2-40B4-BE49-F238E27FC236}">
                <a16:creationId xmlns:a16="http://schemas.microsoft.com/office/drawing/2014/main" id="{7EB4BB55-C9EA-6626-4409-B5C025A57D24}"/>
              </a:ext>
            </a:extLst>
          </p:cNvPr>
          <p:cNvSpPr txBox="1">
            <a:spLocks/>
          </p:cNvSpPr>
          <p:nvPr/>
        </p:nvSpPr>
        <p:spPr>
          <a:xfrm>
            <a:off x="153839" y="94785"/>
            <a:ext cx="7865449" cy="542154"/>
          </a:xfrm>
          <a:prstGeom prst="rect">
            <a:avLst/>
          </a:prstGeom>
        </p:spPr>
        <p:txBody>
          <a:bodyPr vert="horz" lIns="0" tIns="60933" rIns="0" bIns="60933" rtlCol="0" anchor="ctr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862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5BAA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LC 101 Roll-Out Plan (UAE/International) – Example Draft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8856A80D-C461-3DEE-824F-17B7A678A7F2}"/>
              </a:ext>
            </a:extLst>
          </p:cNvPr>
          <p:cNvSpPr/>
          <p:nvPr/>
        </p:nvSpPr>
        <p:spPr>
          <a:xfrm>
            <a:off x="9784849" y="2598380"/>
            <a:ext cx="887721" cy="356616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Vector Country Flag of Sri Lanka - Circle | Vector Countries Flags of the  World">
            <a:extLst>
              <a:ext uri="{FF2B5EF4-FFF2-40B4-BE49-F238E27FC236}">
                <a16:creationId xmlns:a16="http://schemas.microsoft.com/office/drawing/2014/main" id="{CE025E70-2435-1C86-AC09-E95DEB8892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2107" y="1830483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lag of Kenya Flags of the World , Flag Of Kenya transparent background PNG  clipart | HiClipart">
            <a:extLst>
              <a:ext uri="{FF2B5EF4-FFF2-40B4-BE49-F238E27FC236}">
                <a16:creationId xmlns:a16="http://schemas.microsoft.com/office/drawing/2014/main" id="{7B761F62-B6BA-5DE5-19C1-50B9604A16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4316" y="4133509"/>
            <a:ext cx="48768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C6FA19D-68F4-72A7-5441-A171E3B4959A}"/>
              </a:ext>
            </a:extLst>
          </p:cNvPr>
          <p:cNvSpPr txBox="1"/>
          <p:nvPr/>
        </p:nvSpPr>
        <p:spPr>
          <a:xfrm>
            <a:off x="93245" y="5586618"/>
            <a:ext cx="68580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ril light due to Ramadan/Eid Brea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countries wherein single cohort doesn’t meet minimum participant requirement have include Band H employe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 Duration: 3 Hour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% buffer for potential drop-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C62283-03A7-E2FB-F63F-F55E8253821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23032" t="6936" r="24446" b="24492"/>
          <a:stretch/>
        </p:blipFill>
        <p:spPr>
          <a:xfrm>
            <a:off x="4261135" y="1783916"/>
            <a:ext cx="3501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1933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B077DC1-C85B-F3BE-79AD-646A7C8AEF74}"/>
              </a:ext>
            </a:extLst>
          </p:cNvPr>
          <p:cNvSpPr txBox="1"/>
          <p:nvPr/>
        </p:nvSpPr>
        <p:spPr>
          <a:xfrm>
            <a:off x="221742" y="217670"/>
            <a:ext cx="1106195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rgbClr val="005BAA"/>
                </a:solidFill>
                <a:latin typeface="Arial"/>
              </a:rPr>
              <a:t>LC 101 – Budget Breakdown</a:t>
            </a:r>
            <a:endParaRPr lang="en-US" sz="220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B865A67-A168-90E8-DF89-8137AF8E56E7}"/>
              </a:ext>
            </a:extLst>
          </p:cNvPr>
          <p:cNvCxnSpPr>
            <a:cxnSpLocks/>
          </p:cNvCxnSpPr>
          <p:nvPr/>
        </p:nvCxnSpPr>
        <p:spPr>
          <a:xfrm flipV="1">
            <a:off x="-24680" y="836712"/>
            <a:ext cx="12241360" cy="72008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3" name="Arrow: Right 2">
            <a:extLst>
              <a:ext uri="{FF2B5EF4-FFF2-40B4-BE49-F238E27FC236}">
                <a16:creationId xmlns:a16="http://schemas.microsoft.com/office/drawing/2014/main" id="{892087B6-A8CE-7B76-7EF5-A2FF27061737}"/>
              </a:ext>
            </a:extLst>
          </p:cNvPr>
          <p:cNvSpPr/>
          <p:nvPr/>
        </p:nvSpPr>
        <p:spPr>
          <a:xfrm rot="5400000">
            <a:off x="554064" y="2595374"/>
            <a:ext cx="2880320" cy="1989290"/>
          </a:xfrm>
          <a:prstGeom prst="rightArrow">
            <a:avLst>
              <a:gd name="adj1" fmla="val 84905"/>
              <a:gd name="adj2" fmla="val 3682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Diamond 5">
            <a:extLst>
              <a:ext uri="{FF2B5EF4-FFF2-40B4-BE49-F238E27FC236}">
                <a16:creationId xmlns:a16="http://schemas.microsoft.com/office/drawing/2014/main" id="{ECD3972B-E7FE-AE4A-9FA2-4B9269B7E324}"/>
              </a:ext>
            </a:extLst>
          </p:cNvPr>
          <p:cNvSpPr/>
          <p:nvPr/>
        </p:nvSpPr>
        <p:spPr>
          <a:xfrm>
            <a:off x="416828" y="1144011"/>
            <a:ext cx="2619932" cy="2619932"/>
          </a:xfrm>
          <a:prstGeom prst="diamond">
            <a:avLst/>
          </a:prstGeom>
          <a:solidFill>
            <a:schemeClr val="tx1">
              <a:alpha val="30000"/>
            </a:schemeClr>
          </a:solidFill>
          <a:ln>
            <a:noFill/>
          </a:ln>
          <a:effectLst>
            <a:softEdge rad="419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Diamond 8">
            <a:extLst>
              <a:ext uri="{FF2B5EF4-FFF2-40B4-BE49-F238E27FC236}">
                <a16:creationId xmlns:a16="http://schemas.microsoft.com/office/drawing/2014/main" id="{F17BD787-8FBA-48D2-DEF4-839DC754DED8}"/>
              </a:ext>
            </a:extLst>
          </p:cNvPr>
          <p:cNvSpPr/>
          <p:nvPr/>
        </p:nvSpPr>
        <p:spPr>
          <a:xfrm>
            <a:off x="871759" y="1046376"/>
            <a:ext cx="2244930" cy="224493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5DC572-1F05-6712-4C38-EDAC31FBC1B5}"/>
              </a:ext>
            </a:extLst>
          </p:cNvPr>
          <p:cNvSpPr txBox="1"/>
          <p:nvPr/>
        </p:nvSpPr>
        <p:spPr>
          <a:xfrm>
            <a:off x="1199917" y="1754311"/>
            <a:ext cx="1645176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/>
              <a:t>Kit Development</a:t>
            </a:r>
          </a:p>
          <a:p>
            <a:pPr algn="ctr"/>
            <a:r>
              <a:rPr lang="en-US" sz="1600" b="1" dirty="0"/>
              <a:t>+ Pilot</a:t>
            </a:r>
          </a:p>
          <a:p>
            <a:pPr algn="ctr"/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xecutive Session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1D74D92-A992-B0FD-7A77-05A2314B02C9}"/>
              </a:ext>
            </a:extLst>
          </p:cNvPr>
          <p:cNvSpPr txBox="1"/>
          <p:nvPr/>
        </p:nvSpPr>
        <p:spPr>
          <a:xfrm>
            <a:off x="1135384" y="4679875"/>
            <a:ext cx="1717680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IN" sz="5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1</a:t>
            </a:r>
          </a:p>
        </p:txBody>
      </p:sp>
      <p:sp>
        <p:nvSpPr>
          <p:cNvPr id="14" name="Diamond 21">
            <a:extLst>
              <a:ext uri="{FF2B5EF4-FFF2-40B4-BE49-F238E27FC236}">
                <a16:creationId xmlns:a16="http://schemas.microsoft.com/office/drawing/2014/main" id="{3B13BB29-39AE-9C7F-D286-F3F85E7C41BC}"/>
              </a:ext>
            </a:extLst>
          </p:cNvPr>
          <p:cNvSpPr/>
          <p:nvPr/>
        </p:nvSpPr>
        <p:spPr>
          <a:xfrm>
            <a:off x="1851404" y="2749931"/>
            <a:ext cx="285640" cy="142820"/>
          </a:xfrm>
          <a:custGeom>
            <a:avLst/>
            <a:gdLst>
              <a:gd name="connsiteX0" fmla="*/ 0 w 744582"/>
              <a:gd name="connsiteY0" fmla="*/ 372291 h 744582"/>
              <a:gd name="connsiteX1" fmla="*/ 372291 w 744582"/>
              <a:gd name="connsiteY1" fmla="*/ 0 h 744582"/>
              <a:gd name="connsiteX2" fmla="*/ 744582 w 744582"/>
              <a:gd name="connsiteY2" fmla="*/ 372291 h 744582"/>
              <a:gd name="connsiteX3" fmla="*/ 372291 w 744582"/>
              <a:gd name="connsiteY3" fmla="*/ 744582 h 744582"/>
              <a:gd name="connsiteX4" fmla="*/ 0 w 744582"/>
              <a:gd name="connsiteY4" fmla="*/ 372291 h 744582"/>
              <a:gd name="connsiteX0" fmla="*/ 372291 w 744582"/>
              <a:gd name="connsiteY0" fmla="*/ 0 h 744582"/>
              <a:gd name="connsiteX1" fmla="*/ 744582 w 744582"/>
              <a:gd name="connsiteY1" fmla="*/ 372291 h 744582"/>
              <a:gd name="connsiteX2" fmla="*/ 372291 w 744582"/>
              <a:gd name="connsiteY2" fmla="*/ 744582 h 744582"/>
              <a:gd name="connsiteX3" fmla="*/ 0 w 744582"/>
              <a:gd name="connsiteY3" fmla="*/ 372291 h 744582"/>
              <a:gd name="connsiteX4" fmla="*/ 463731 w 744582"/>
              <a:gd name="connsiteY4" fmla="*/ 91440 h 744582"/>
              <a:gd name="connsiteX0" fmla="*/ 372291 w 744582"/>
              <a:gd name="connsiteY0" fmla="*/ 0 h 744582"/>
              <a:gd name="connsiteX1" fmla="*/ 744582 w 744582"/>
              <a:gd name="connsiteY1" fmla="*/ 372291 h 744582"/>
              <a:gd name="connsiteX2" fmla="*/ 372291 w 744582"/>
              <a:gd name="connsiteY2" fmla="*/ 744582 h 744582"/>
              <a:gd name="connsiteX3" fmla="*/ 0 w 744582"/>
              <a:gd name="connsiteY3" fmla="*/ 372291 h 744582"/>
              <a:gd name="connsiteX0" fmla="*/ 744582 w 744582"/>
              <a:gd name="connsiteY0" fmla="*/ 0 h 372291"/>
              <a:gd name="connsiteX1" fmla="*/ 372291 w 744582"/>
              <a:gd name="connsiteY1" fmla="*/ 372291 h 372291"/>
              <a:gd name="connsiteX2" fmla="*/ 0 w 744582"/>
              <a:gd name="connsiteY2" fmla="*/ 0 h 37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4582" h="372291">
                <a:moveTo>
                  <a:pt x="744582" y="0"/>
                </a:moveTo>
                <a:lnTo>
                  <a:pt x="372291" y="372291"/>
                </a:lnTo>
                <a:lnTo>
                  <a:pt x="0" y="0"/>
                </a:lnTo>
              </a:path>
            </a:pathLst>
          </a:custGeom>
          <a:noFill/>
          <a:ln w="381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CADF21-BA92-84A0-4B63-1C907EC4AA85}"/>
              </a:ext>
            </a:extLst>
          </p:cNvPr>
          <p:cNvSpPr txBox="1"/>
          <p:nvPr/>
        </p:nvSpPr>
        <p:spPr>
          <a:xfrm>
            <a:off x="1300052" y="3395208"/>
            <a:ext cx="1388344" cy="58625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IN" sz="1600" i="1" dirty="0">
                <a:solidFill>
                  <a:schemeClr val="tx1">
                    <a:lumMod val="85000"/>
                    <a:lumOff val="15000"/>
                  </a:schemeClr>
                </a:solidFill>
                <a:ea typeface="Segoe UI Black" panose="020B0A02040204020203" pitchFamily="34" charset="0"/>
                <a:cs typeface="Segoe UI Light" panose="020B0502040204020203" pitchFamily="34" charset="0"/>
              </a:rPr>
              <a:t>AED 22,000 </a:t>
            </a:r>
            <a:endParaRPr lang="en-IN" sz="16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53170556-6698-5CA3-A543-342CD599C950}"/>
              </a:ext>
            </a:extLst>
          </p:cNvPr>
          <p:cNvSpPr/>
          <p:nvPr/>
        </p:nvSpPr>
        <p:spPr>
          <a:xfrm rot="5400000">
            <a:off x="3298991" y="2595374"/>
            <a:ext cx="2880320" cy="1989290"/>
          </a:xfrm>
          <a:prstGeom prst="rightArrow">
            <a:avLst>
              <a:gd name="adj1" fmla="val 84905"/>
              <a:gd name="adj2" fmla="val 3682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Diamond 17">
            <a:extLst>
              <a:ext uri="{FF2B5EF4-FFF2-40B4-BE49-F238E27FC236}">
                <a16:creationId xmlns:a16="http://schemas.microsoft.com/office/drawing/2014/main" id="{C7451C7E-E284-2AAD-557A-BA31D034997E}"/>
              </a:ext>
            </a:extLst>
          </p:cNvPr>
          <p:cNvSpPr/>
          <p:nvPr/>
        </p:nvSpPr>
        <p:spPr>
          <a:xfrm>
            <a:off x="3148214" y="1144011"/>
            <a:ext cx="2619932" cy="2619932"/>
          </a:xfrm>
          <a:prstGeom prst="diamond">
            <a:avLst/>
          </a:prstGeom>
          <a:solidFill>
            <a:schemeClr val="tx1">
              <a:alpha val="30000"/>
            </a:schemeClr>
          </a:solidFill>
          <a:ln>
            <a:noFill/>
          </a:ln>
          <a:effectLst>
            <a:softEdge rad="419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Diamond 18">
            <a:extLst>
              <a:ext uri="{FF2B5EF4-FFF2-40B4-BE49-F238E27FC236}">
                <a16:creationId xmlns:a16="http://schemas.microsoft.com/office/drawing/2014/main" id="{EFB6D4C6-FEAF-0066-EC86-77D3622CEB13}"/>
              </a:ext>
            </a:extLst>
          </p:cNvPr>
          <p:cNvSpPr/>
          <p:nvPr/>
        </p:nvSpPr>
        <p:spPr>
          <a:xfrm>
            <a:off x="3616686" y="1046376"/>
            <a:ext cx="2244930" cy="224493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B0D2E46-3F62-32DB-0FC5-2B8579435BE3}"/>
              </a:ext>
            </a:extLst>
          </p:cNvPr>
          <p:cNvSpPr txBox="1"/>
          <p:nvPr/>
        </p:nvSpPr>
        <p:spPr>
          <a:xfrm>
            <a:off x="3916563" y="2045730"/>
            <a:ext cx="164517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rain The Trainer</a:t>
            </a:r>
          </a:p>
        </p:txBody>
      </p:sp>
      <p:sp>
        <p:nvSpPr>
          <p:cNvPr id="21" name="Diamond 21">
            <a:extLst>
              <a:ext uri="{FF2B5EF4-FFF2-40B4-BE49-F238E27FC236}">
                <a16:creationId xmlns:a16="http://schemas.microsoft.com/office/drawing/2014/main" id="{3F53194F-FE8B-8284-36F3-1033C43E4484}"/>
              </a:ext>
            </a:extLst>
          </p:cNvPr>
          <p:cNvSpPr/>
          <p:nvPr/>
        </p:nvSpPr>
        <p:spPr>
          <a:xfrm>
            <a:off x="4596331" y="2749931"/>
            <a:ext cx="285640" cy="142820"/>
          </a:xfrm>
          <a:custGeom>
            <a:avLst/>
            <a:gdLst>
              <a:gd name="connsiteX0" fmla="*/ 0 w 744582"/>
              <a:gd name="connsiteY0" fmla="*/ 372291 h 744582"/>
              <a:gd name="connsiteX1" fmla="*/ 372291 w 744582"/>
              <a:gd name="connsiteY1" fmla="*/ 0 h 744582"/>
              <a:gd name="connsiteX2" fmla="*/ 744582 w 744582"/>
              <a:gd name="connsiteY2" fmla="*/ 372291 h 744582"/>
              <a:gd name="connsiteX3" fmla="*/ 372291 w 744582"/>
              <a:gd name="connsiteY3" fmla="*/ 744582 h 744582"/>
              <a:gd name="connsiteX4" fmla="*/ 0 w 744582"/>
              <a:gd name="connsiteY4" fmla="*/ 372291 h 744582"/>
              <a:gd name="connsiteX0" fmla="*/ 372291 w 744582"/>
              <a:gd name="connsiteY0" fmla="*/ 0 h 744582"/>
              <a:gd name="connsiteX1" fmla="*/ 744582 w 744582"/>
              <a:gd name="connsiteY1" fmla="*/ 372291 h 744582"/>
              <a:gd name="connsiteX2" fmla="*/ 372291 w 744582"/>
              <a:gd name="connsiteY2" fmla="*/ 744582 h 744582"/>
              <a:gd name="connsiteX3" fmla="*/ 0 w 744582"/>
              <a:gd name="connsiteY3" fmla="*/ 372291 h 744582"/>
              <a:gd name="connsiteX4" fmla="*/ 463731 w 744582"/>
              <a:gd name="connsiteY4" fmla="*/ 91440 h 744582"/>
              <a:gd name="connsiteX0" fmla="*/ 372291 w 744582"/>
              <a:gd name="connsiteY0" fmla="*/ 0 h 744582"/>
              <a:gd name="connsiteX1" fmla="*/ 744582 w 744582"/>
              <a:gd name="connsiteY1" fmla="*/ 372291 h 744582"/>
              <a:gd name="connsiteX2" fmla="*/ 372291 w 744582"/>
              <a:gd name="connsiteY2" fmla="*/ 744582 h 744582"/>
              <a:gd name="connsiteX3" fmla="*/ 0 w 744582"/>
              <a:gd name="connsiteY3" fmla="*/ 372291 h 744582"/>
              <a:gd name="connsiteX0" fmla="*/ 744582 w 744582"/>
              <a:gd name="connsiteY0" fmla="*/ 0 h 372291"/>
              <a:gd name="connsiteX1" fmla="*/ 372291 w 744582"/>
              <a:gd name="connsiteY1" fmla="*/ 372291 h 372291"/>
              <a:gd name="connsiteX2" fmla="*/ 0 w 744582"/>
              <a:gd name="connsiteY2" fmla="*/ 0 h 37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4582" h="372291">
                <a:moveTo>
                  <a:pt x="744582" y="0"/>
                </a:moveTo>
                <a:lnTo>
                  <a:pt x="372291" y="372291"/>
                </a:lnTo>
                <a:lnTo>
                  <a:pt x="0" y="0"/>
                </a:lnTo>
              </a:path>
            </a:pathLst>
          </a:custGeom>
          <a:noFill/>
          <a:ln w="381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65FDD9-9C5D-3572-2FDB-382B73A7DC29}"/>
              </a:ext>
            </a:extLst>
          </p:cNvPr>
          <p:cNvSpPr txBox="1"/>
          <p:nvPr/>
        </p:nvSpPr>
        <p:spPr>
          <a:xfrm>
            <a:off x="3880311" y="4679875"/>
            <a:ext cx="1717680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IN" sz="5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90E9A6-2E4E-DABF-E90A-346C21013B4E}"/>
              </a:ext>
            </a:extLst>
          </p:cNvPr>
          <p:cNvSpPr txBox="1"/>
          <p:nvPr/>
        </p:nvSpPr>
        <p:spPr>
          <a:xfrm>
            <a:off x="4044979" y="3395208"/>
            <a:ext cx="1388344" cy="58625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IN" sz="1600" i="1" dirty="0">
                <a:solidFill>
                  <a:schemeClr val="tx1">
                    <a:lumMod val="85000"/>
                    <a:lumOff val="15000"/>
                  </a:schemeClr>
                </a:solidFill>
                <a:ea typeface="Segoe UI Black" panose="020B0A02040204020203" pitchFamily="34" charset="0"/>
                <a:cs typeface="Segoe UI Light" panose="020B0502040204020203" pitchFamily="34" charset="0"/>
              </a:rPr>
              <a:t>AED 11,000</a:t>
            </a:r>
            <a:endParaRPr lang="en-IN" sz="16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516C15A2-2AAF-8DD7-08B0-47325D128BA5}"/>
              </a:ext>
            </a:extLst>
          </p:cNvPr>
          <p:cNvSpPr/>
          <p:nvPr/>
        </p:nvSpPr>
        <p:spPr>
          <a:xfrm rot="5400000">
            <a:off x="6038250" y="2595374"/>
            <a:ext cx="2880320" cy="1989290"/>
          </a:xfrm>
          <a:prstGeom prst="rightArrow">
            <a:avLst>
              <a:gd name="adj1" fmla="val 84905"/>
              <a:gd name="adj2" fmla="val 3682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8" name="Diamond 27">
            <a:extLst>
              <a:ext uri="{FF2B5EF4-FFF2-40B4-BE49-F238E27FC236}">
                <a16:creationId xmlns:a16="http://schemas.microsoft.com/office/drawing/2014/main" id="{62608927-6C1B-01E0-D865-04A753EE2CB4}"/>
              </a:ext>
            </a:extLst>
          </p:cNvPr>
          <p:cNvSpPr/>
          <p:nvPr/>
        </p:nvSpPr>
        <p:spPr>
          <a:xfrm>
            <a:off x="5893141" y="1144011"/>
            <a:ext cx="2619932" cy="2619932"/>
          </a:xfrm>
          <a:prstGeom prst="diamond">
            <a:avLst/>
          </a:prstGeom>
          <a:solidFill>
            <a:schemeClr val="tx1">
              <a:alpha val="30000"/>
            </a:schemeClr>
          </a:solidFill>
          <a:ln>
            <a:noFill/>
          </a:ln>
          <a:effectLst>
            <a:softEdge rad="419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Diamond 28">
            <a:extLst>
              <a:ext uri="{FF2B5EF4-FFF2-40B4-BE49-F238E27FC236}">
                <a16:creationId xmlns:a16="http://schemas.microsoft.com/office/drawing/2014/main" id="{263C3282-65AF-1B4D-9F3C-03E66DCF37F0}"/>
              </a:ext>
            </a:extLst>
          </p:cNvPr>
          <p:cNvSpPr/>
          <p:nvPr/>
        </p:nvSpPr>
        <p:spPr>
          <a:xfrm>
            <a:off x="6355945" y="1046376"/>
            <a:ext cx="2244930" cy="224493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F3F48D4-CAD9-0342-2E81-7ED834BC9147}"/>
              </a:ext>
            </a:extLst>
          </p:cNvPr>
          <p:cNvSpPr txBox="1"/>
          <p:nvPr/>
        </p:nvSpPr>
        <p:spPr>
          <a:xfrm>
            <a:off x="6655822" y="1938008"/>
            <a:ext cx="1645176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Delivery Kit Cost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(4 Kits)</a:t>
            </a:r>
          </a:p>
        </p:txBody>
      </p:sp>
      <p:sp>
        <p:nvSpPr>
          <p:cNvPr id="31" name="Diamond 21">
            <a:extLst>
              <a:ext uri="{FF2B5EF4-FFF2-40B4-BE49-F238E27FC236}">
                <a16:creationId xmlns:a16="http://schemas.microsoft.com/office/drawing/2014/main" id="{E2A39E36-B3A5-2563-01DA-64679663468B}"/>
              </a:ext>
            </a:extLst>
          </p:cNvPr>
          <p:cNvSpPr/>
          <p:nvPr/>
        </p:nvSpPr>
        <p:spPr>
          <a:xfrm>
            <a:off x="7335590" y="2749931"/>
            <a:ext cx="285640" cy="142820"/>
          </a:xfrm>
          <a:custGeom>
            <a:avLst/>
            <a:gdLst>
              <a:gd name="connsiteX0" fmla="*/ 0 w 744582"/>
              <a:gd name="connsiteY0" fmla="*/ 372291 h 744582"/>
              <a:gd name="connsiteX1" fmla="*/ 372291 w 744582"/>
              <a:gd name="connsiteY1" fmla="*/ 0 h 744582"/>
              <a:gd name="connsiteX2" fmla="*/ 744582 w 744582"/>
              <a:gd name="connsiteY2" fmla="*/ 372291 h 744582"/>
              <a:gd name="connsiteX3" fmla="*/ 372291 w 744582"/>
              <a:gd name="connsiteY3" fmla="*/ 744582 h 744582"/>
              <a:gd name="connsiteX4" fmla="*/ 0 w 744582"/>
              <a:gd name="connsiteY4" fmla="*/ 372291 h 744582"/>
              <a:gd name="connsiteX0" fmla="*/ 372291 w 744582"/>
              <a:gd name="connsiteY0" fmla="*/ 0 h 744582"/>
              <a:gd name="connsiteX1" fmla="*/ 744582 w 744582"/>
              <a:gd name="connsiteY1" fmla="*/ 372291 h 744582"/>
              <a:gd name="connsiteX2" fmla="*/ 372291 w 744582"/>
              <a:gd name="connsiteY2" fmla="*/ 744582 h 744582"/>
              <a:gd name="connsiteX3" fmla="*/ 0 w 744582"/>
              <a:gd name="connsiteY3" fmla="*/ 372291 h 744582"/>
              <a:gd name="connsiteX4" fmla="*/ 463731 w 744582"/>
              <a:gd name="connsiteY4" fmla="*/ 91440 h 744582"/>
              <a:gd name="connsiteX0" fmla="*/ 372291 w 744582"/>
              <a:gd name="connsiteY0" fmla="*/ 0 h 744582"/>
              <a:gd name="connsiteX1" fmla="*/ 744582 w 744582"/>
              <a:gd name="connsiteY1" fmla="*/ 372291 h 744582"/>
              <a:gd name="connsiteX2" fmla="*/ 372291 w 744582"/>
              <a:gd name="connsiteY2" fmla="*/ 744582 h 744582"/>
              <a:gd name="connsiteX3" fmla="*/ 0 w 744582"/>
              <a:gd name="connsiteY3" fmla="*/ 372291 h 744582"/>
              <a:gd name="connsiteX0" fmla="*/ 744582 w 744582"/>
              <a:gd name="connsiteY0" fmla="*/ 0 h 372291"/>
              <a:gd name="connsiteX1" fmla="*/ 372291 w 744582"/>
              <a:gd name="connsiteY1" fmla="*/ 372291 h 372291"/>
              <a:gd name="connsiteX2" fmla="*/ 0 w 744582"/>
              <a:gd name="connsiteY2" fmla="*/ 0 h 37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4582" h="372291">
                <a:moveTo>
                  <a:pt x="744582" y="0"/>
                </a:moveTo>
                <a:lnTo>
                  <a:pt x="372291" y="372291"/>
                </a:lnTo>
                <a:lnTo>
                  <a:pt x="0" y="0"/>
                </a:lnTo>
              </a:path>
            </a:pathLst>
          </a:custGeom>
          <a:noFill/>
          <a:ln w="381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24B5070-7B1B-ED53-8198-36BB9159DDA8}"/>
              </a:ext>
            </a:extLst>
          </p:cNvPr>
          <p:cNvSpPr txBox="1"/>
          <p:nvPr/>
        </p:nvSpPr>
        <p:spPr>
          <a:xfrm>
            <a:off x="6619570" y="4679875"/>
            <a:ext cx="1717680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IN" sz="5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3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C6341C0-5EE4-E850-7AB2-2713DDBAD6A7}"/>
              </a:ext>
            </a:extLst>
          </p:cNvPr>
          <p:cNvSpPr txBox="1"/>
          <p:nvPr/>
        </p:nvSpPr>
        <p:spPr>
          <a:xfrm>
            <a:off x="6784238" y="3395208"/>
            <a:ext cx="1388344" cy="58625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IN" sz="1600" i="1" dirty="0">
                <a:solidFill>
                  <a:schemeClr val="tx1">
                    <a:lumMod val="85000"/>
                    <a:lumOff val="15000"/>
                  </a:schemeClr>
                </a:solidFill>
                <a:ea typeface="Segoe UI Black" panose="020B0A02040204020203" pitchFamily="34" charset="0"/>
                <a:cs typeface="Segoe UI Light" panose="020B0502040204020203" pitchFamily="34" charset="0"/>
              </a:rPr>
              <a:t>AED 12,000</a:t>
            </a:r>
          </a:p>
          <a:p>
            <a:pPr algn="ctr"/>
            <a:r>
              <a:rPr lang="en-IN" sz="1200" i="1" dirty="0">
                <a:solidFill>
                  <a:schemeClr val="tx1">
                    <a:lumMod val="85000"/>
                    <a:lumOff val="15000"/>
                  </a:schemeClr>
                </a:solidFill>
                <a:ea typeface="Segoe UI Black" panose="020B0A02040204020203" pitchFamily="34" charset="0"/>
                <a:cs typeface="Segoe UI Light" panose="020B0502040204020203" pitchFamily="34" charset="0"/>
              </a:rPr>
              <a:t>(3000*4)</a:t>
            </a:r>
            <a:endParaRPr lang="en-IN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Arrow: Right 39">
            <a:extLst>
              <a:ext uri="{FF2B5EF4-FFF2-40B4-BE49-F238E27FC236}">
                <a16:creationId xmlns:a16="http://schemas.microsoft.com/office/drawing/2014/main" id="{1D6774A6-B490-BDA5-EB1D-ED5707F21C74}"/>
              </a:ext>
            </a:extLst>
          </p:cNvPr>
          <p:cNvSpPr/>
          <p:nvPr/>
        </p:nvSpPr>
        <p:spPr>
          <a:xfrm rot="5400000">
            <a:off x="8777508" y="2595374"/>
            <a:ext cx="2880320" cy="1989290"/>
          </a:xfrm>
          <a:prstGeom prst="rightArrow">
            <a:avLst>
              <a:gd name="adj1" fmla="val 84905"/>
              <a:gd name="adj2" fmla="val 3682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1" name="Diamond 40">
            <a:extLst>
              <a:ext uri="{FF2B5EF4-FFF2-40B4-BE49-F238E27FC236}">
                <a16:creationId xmlns:a16="http://schemas.microsoft.com/office/drawing/2014/main" id="{46D959D0-0421-24F5-B26A-86C3A8EEC492}"/>
              </a:ext>
            </a:extLst>
          </p:cNvPr>
          <p:cNvSpPr/>
          <p:nvPr/>
        </p:nvSpPr>
        <p:spPr>
          <a:xfrm>
            <a:off x="8632399" y="1144011"/>
            <a:ext cx="2619932" cy="2619932"/>
          </a:xfrm>
          <a:prstGeom prst="diamond">
            <a:avLst/>
          </a:prstGeom>
          <a:solidFill>
            <a:schemeClr val="tx1">
              <a:alpha val="30000"/>
            </a:schemeClr>
          </a:solidFill>
          <a:ln>
            <a:noFill/>
          </a:ln>
          <a:effectLst>
            <a:softEdge rad="419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2" name="Diamond 41">
            <a:extLst>
              <a:ext uri="{FF2B5EF4-FFF2-40B4-BE49-F238E27FC236}">
                <a16:creationId xmlns:a16="http://schemas.microsoft.com/office/drawing/2014/main" id="{F0C5104C-017D-460C-9169-86742B140BED}"/>
              </a:ext>
            </a:extLst>
          </p:cNvPr>
          <p:cNvSpPr/>
          <p:nvPr/>
        </p:nvSpPr>
        <p:spPr>
          <a:xfrm>
            <a:off x="9095203" y="1046376"/>
            <a:ext cx="2244930" cy="2244930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92EE051-0BBE-2D96-C261-AB38D07743A4}"/>
              </a:ext>
            </a:extLst>
          </p:cNvPr>
          <p:cNvSpPr txBox="1"/>
          <p:nvPr/>
        </p:nvSpPr>
        <p:spPr>
          <a:xfrm>
            <a:off x="9395080" y="1922619"/>
            <a:ext cx="1645176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Sessions by Ex. Partner</a:t>
            </a:r>
          </a:p>
        </p:txBody>
      </p:sp>
      <p:sp>
        <p:nvSpPr>
          <p:cNvPr id="44" name="Diamond 21">
            <a:extLst>
              <a:ext uri="{FF2B5EF4-FFF2-40B4-BE49-F238E27FC236}">
                <a16:creationId xmlns:a16="http://schemas.microsoft.com/office/drawing/2014/main" id="{9730B5C1-0FD2-9664-07CD-8A5C3D54067D}"/>
              </a:ext>
            </a:extLst>
          </p:cNvPr>
          <p:cNvSpPr/>
          <p:nvPr/>
        </p:nvSpPr>
        <p:spPr>
          <a:xfrm>
            <a:off x="10074848" y="2749931"/>
            <a:ext cx="285640" cy="142820"/>
          </a:xfrm>
          <a:custGeom>
            <a:avLst/>
            <a:gdLst>
              <a:gd name="connsiteX0" fmla="*/ 0 w 744582"/>
              <a:gd name="connsiteY0" fmla="*/ 372291 h 744582"/>
              <a:gd name="connsiteX1" fmla="*/ 372291 w 744582"/>
              <a:gd name="connsiteY1" fmla="*/ 0 h 744582"/>
              <a:gd name="connsiteX2" fmla="*/ 744582 w 744582"/>
              <a:gd name="connsiteY2" fmla="*/ 372291 h 744582"/>
              <a:gd name="connsiteX3" fmla="*/ 372291 w 744582"/>
              <a:gd name="connsiteY3" fmla="*/ 744582 h 744582"/>
              <a:gd name="connsiteX4" fmla="*/ 0 w 744582"/>
              <a:gd name="connsiteY4" fmla="*/ 372291 h 744582"/>
              <a:gd name="connsiteX0" fmla="*/ 372291 w 744582"/>
              <a:gd name="connsiteY0" fmla="*/ 0 h 744582"/>
              <a:gd name="connsiteX1" fmla="*/ 744582 w 744582"/>
              <a:gd name="connsiteY1" fmla="*/ 372291 h 744582"/>
              <a:gd name="connsiteX2" fmla="*/ 372291 w 744582"/>
              <a:gd name="connsiteY2" fmla="*/ 744582 h 744582"/>
              <a:gd name="connsiteX3" fmla="*/ 0 w 744582"/>
              <a:gd name="connsiteY3" fmla="*/ 372291 h 744582"/>
              <a:gd name="connsiteX4" fmla="*/ 463731 w 744582"/>
              <a:gd name="connsiteY4" fmla="*/ 91440 h 744582"/>
              <a:gd name="connsiteX0" fmla="*/ 372291 w 744582"/>
              <a:gd name="connsiteY0" fmla="*/ 0 h 744582"/>
              <a:gd name="connsiteX1" fmla="*/ 744582 w 744582"/>
              <a:gd name="connsiteY1" fmla="*/ 372291 h 744582"/>
              <a:gd name="connsiteX2" fmla="*/ 372291 w 744582"/>
              <a:gd name="connsiteY2" fmla="*/ 744582 h 744582"/>
              <a:gd name="connsiteX3" fmla="*/ 0 w 744582"/>
              <a:gd name="connsiteY3" fmla="*/ 372291 h 744582"/>
              <a:gd name="connsiteX0" fmla="*/ 744582 w 744582"/>
              <a:gd name="connsiteY0" fmla="*/ 0 h 372291"/>
              <a:gd name="connsiteX1" fmla="*/ 372291 w 744582"/>
              <a:gd name="connsiteY1" fmla="*/ 372291 h 372291"/>
              <a:gd name="connsiteX2" fmla="*/ 0 w 744582"/>
              <a:gd name="connsiteY2" fmla="*/ 0 h 37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4582" h="372291">
                <a:moveTo>
                  <a:pt x="744582" y="0"/>
                </a:moveTo>
                <a:lnTo>
                  <a:pt x="372291" y="372291"/>
                </a:lnTo>
                <a:lnTo>
                  <a:pt x="0" y="0"/>
                </a:lnTo>
              </a:path>
            </a:pathLst>
          </a:custGeom>
          <a:noFill/>
          <a:ln w="381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A771730-5D9A-579E-5177-3659B2B529E5}"/>
              </a:ext>
            </a:extLst>
          </p:cNvPr>
          <p:cNvSpPr txBox="1"/>
          <p:nvPr/>
        </p:nvSpPr>
        <p:spPr>
          <a:xfrm>
            <a:off x="9358828" y="4679875"/>
            <a:ext cx="1717680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IN" sz="5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4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CC3A7BF-FC9C-75D7-0604-C49CDF08CCA1}"/>
              </a:ext>
            </a:extLst>
          </p:cNvPr>
          <p:cNvSpPr txBox="1"/>
          <p:nvPr/>
        </p:nvSpPr>
        <p:spPr>
          <a:xfrm>
            <a:off x="9523496" y="3395208"/>
            <a:ext cx="1516760" cy="58625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IN" sz="1600" i="1" dirty="0">
                <a:solidFill>
                  <a:schemeClr val="tx1">
                    <a:lumMod val="85000"/>
                    <a:lumOff val="15000"/>
                  </a:schemeClr>
                </a:solidFill>
                <a:ea typeface="Segoe UI Black" panose="020B0A02040204020203" pitchFamily="34" charset="0"/>
                <a:cs typeface="Segoe UI Light" panose="020B0502040204020203" pitchFamily="34" charset="0"/>
              </a:rPr>
              <a:t>AED 115,000</a:t>
            </a:r>
          </a:p>
          <a:p>
            <a:pPr algn="ctr">
              <a:lnSpc>
                <a:spcPct val="150000"/>
              </a:lnSpc>
            </a:pPr>
            <a:r>
              <a:rPr lang="en-IN" sz="1600" i="1" baseline="30000" dirty="0">
                <a:solidFill>
                  <a:schemeClr val="tx1">
                    <a:lumMod val="85000"/>
                    <a:lumOff val="15000"/>
                  </a:schemeClr>
                </a:solidFill>
                <a:ea typeface="Segoe UI Black" panose="020B0A02040204020203" pitchFamily="34" charset="0"/>
                <a:cs typeface="Segoe UI Light" panose="020B0502040204020203" pitchFamily="34" charset="0"/>
              </a:rPr>
              <a:t>(7000*15)</a:t>
            </a:r>
            <a:endParaRPr lang="en-IN" sz="1600" i="1" baseline="30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53" name="Graphic 52" descr="Backpack with solid fill">
            <a:extLst>
              <a:ext uri="{FF2B5EF4-FFF2-40B4-BE49-F238E27FC236}">
                <a16:creationId xmlns:a16="http://schemas.microsoft.com/office/drawing/2014/main" id="{195EDEE8-C2C7-EEC9-E3CC-27FE2779C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67931" y="3997806"/>
            <a:ext cx="641182" cy="641182"/>
          </a:xfrm>
          <a:prstGeom prst="rect">
            <a:avLst/>
          </a:prstGeom>
        </p:spPr>
      </p:pic>
      <p:pic>
        <p:nvPicPr>
          <p:cNvPr id="55" name="Graphic 54" descr="Address Book with solid fill">
            <a:extLst>
              <a:ext uri="{FF2B5EF4-FFF2-40B4-BE49-F238E27FC236}">
                <a16:creationId xmlns:a16="http://schemas.microsoft.com/office/drawing/2014/main" id="{B4191EF7-FFF6-3949-3635-335F528284C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19111" y="4044141"/>
            <a:ext cx="640080" cy="640080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B8C2DD2D-7EF1-E618-239D-55C6850A0C9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 l="27869" t="4151" r="26939" b="16618"/>
          <a:stretch/>
        </p:blipFill>
        <p:spPr>
          <a:xfrm>
            <a:off x="10032948" y="4039795"/>
            <a:ext cx="365096" cy="640080"/>
          </a:xfrm>
          <a:prstGeom prst="rect">
            <a:avLst/>
          </a:prstGeom>
          <a:noFill/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3364F82C-1260-1E54-BD0B-326BD8826FC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12976" t="1836" r="13839" b="15458"/>
          <a:stretch/>
        </p:blipFill>
        <p:spPr>
          <a:xfrm>
            <a:off x="7203107" y="4044141"/>
            <a:ext cx="566395" cy="640080"/>
          </a:xfrm>
          <a:prstGeom prst="rect">
            <a:avLst/>
          </a:prstGeom>
          <a:ln>
            <a:noFill/>
          </a:ln>
        </p:spPr>
      </p:pic>
      <p:sp>
        <p:nvSpPr>
          <p:cNvPr id="62" name="Left Brace 61">
            <a:extLst>
              <a:ext uri="{FF2B5EF4-FFF2-40B4-BE49-F238E27FC236}">
                <a16:creationId xmlns:a16="http://schemas.microsoft.com/office/drawing/2014/main" id="{A5B52DA9-F6DA-400C-D393-2119A34D029A}"/>
              </a:ext>
            </a:extLst>
          </p:cNvPr>
          <p:cNvSpPr/>
          <p:nvPr/>
        </p:nvSpPr>
        <p:spPr>
          <a:xfrm rot="16200000">
            <a:off x="3042591" y="3261246"/>
            <a:ext cx="548640" cy="4663440"/>
          </a:xfrm>
          <a:prstGeom prst="leftBrac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CF32511-3D9B-8541-2409-76E072BB2609}"/>
              </a:ext>
            </a:extLst>
          </p:cNvPr>
          <p:cNvSpPr txBox="1"/>
          <p:nvPr/>
        </p:nvSpPr>
        <p:spPr>
          <a:xfrm>
            <a:off x="2868711" y="5946111"/>
            <a:ext cx="9276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tx2">
                    <a:lumMod val="75000"/>
                  </a:schemeClr>
                </a:solidFill>
              </a:rPr>
              <a:t>Approved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94BC70DD-F5BE-DC6D-B7E7-0DBACE825201}"/>
              </a:ext>
            </a:extLst>
          </p:cNvPr>
          <p:cNvSpPr/>
          <p:nvPr/>
        </p:nvSpPr>
        <p:spPr>
          <a:xfrm rot="16200000">
            <a:off x="8722113" y="3271185"/>
            <a:ext cx="548640" cy="4663440"/>
          </a:xfrm>
          <a:prstGeom prst="leftBrac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0DD681-8D30-EEB6-0B54-FC7C5CB63507}"/>
              </a:ext>
            </a:extLst>
          </p:cNvPr>
          <p:cNvSpPr txBox="1"/>
          <p:nvPr/>
        </p:nvSpPr>
        <p:spPr>
          <a:xfrm>
            <a:off x="7261317" y="5859824"/>
            <a:ext cx="35027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>
                <a:solidFill>
                  <a:schemeClr val="tx2">
                    <a:lumMod val="75000"/>
                  </a:schemeClr>
                </a:solidFill>
              </a:rPr>
              <a:t>Additional Budget for Approval </a:t>
            </a:r>
            <a:r>
              <a:rPr lang="en-US" sz="1200" b="1" i="1" dirty="0">
                <a:solidFill>
                  <a:schemeClr val="tx2">
                    <a:lumMod val="75000"/>
                  </a:schemeClr>
                </a:solidFill>
              </a:rPr>
              <a:t>=  AED 117,000</a:t>
            </a:r>
          </a:p>
          <a:p>
            <a:pPr algn="ctr"/>
            <a:r>
              <a:rPr lang="en-US" sz="1200" i="1" dirty="0">
                <a:solidFill>
                  <a:schemeClr val="tx2">
                    <a:lumMod val="75000"/>
                  </a:schemeClr>
                </a:solidFill>
              </a:rPr>
              <a:t> (variation for existing approved PO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75BC8B-4594-B92B-87AA-0FF71BABB905}"/>
              </a:ext>
            </a:extLst>
          </p:cNvPr>
          <p:cNvSpPr txBox="1"/>
          <p:nvPr/>
        </p:nvSpPr>
        <p:spPr>
          <a:xfrm>
            <a:off x="9273116" y="67742"/>
            <a:ext cx="29594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3"/>
                </a:solidFill>
              </a:rPr>
              <a:t>Awareness I Knowledge I Cascade</a:t>
            </a:r>
          </a:p>
        </p:txBody>
      </p:sp>
    </p:spTree>
    <p:extLst>
      <p:ext uri="{BB962C8B-B14F-4D97-AF65-F5344CB8AC3E}">
        <p14:creationId xmlns:p14="http://schemas.microsoft.com/office/powerpoint/2010/main" val="34821413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295C6ED-B0D4-4D62-B18F-B1180A2164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19675" r="-3" b="53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82CFBFB-67E1-4FC6-9035-4E9A0E016F2D}"/>
              </a:ext>
            </a:extLst>
          </p:cNvPr>
          <p:cNvSpPr/>
          <p:nvPr/>
        </p:nvSpPr>
        <p:spPr>
          <a:xfrm>
            <a:off x="0" y="0"/>
            <a:ext cx="12191578" cy="6858000"/>
          </a:xfrm>
          <a:prstGeom prst="rect">
            <a:avLst/>
          </a:prstGeom>
          <a:solidFill>
            <a:srgbClr val="01509F">
              <a:alpha val="83922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Leadership Competencies 101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Calibri" panose="020F0502020204030204" pitchFamily="34" charset="0"/>
                <a:cs typeface="Calibri" panose="020F0502020204030204" pitchFamily="34" charset="0"/>
              </a:rPr>
              <a:t>Communication &amp; Launch Plan</a:t>
            </a:r>
          </a:p>
        </p:txBody>
      </p:sp>
      <p:pic>
        <p:nvPicPr>
          <p:cNvPr id="23" name="Picture 22" descr="A picture containing text&#10;&#10;Description automatically generated">
            <a:extLst>
              <a:ext uri="{FF2B5EF4-FFF2-40B4-BE49-F238E27FC236}">
                <a16:creationId xmlns:a16="http://schemas.microsoft.com/office/drawing/2014/main" id="{C02B158C-512C-40A1-A0B6-1294149552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17" r="4965" b="40176"/>
          <a:stretch/>
        </p:blipFill>
        <p:spPr>
          <a:xfrm>
            <a:off x="8350472" y="5448300"/>
            <a:ext cx="3263601" cy="109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5286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gl6VS0THeQmQWlAdWkb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theme1.xml><?xml version="1.0" encoding="utf-8"?>
<a:theme xmlns:a="http://schemas.openxmlformats.org/drawingml/2006/main" name="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AE390A88-97CA-41E9-824B-643367F317B4}" vid="{FC435FCC-79BF-4757-8FA3-D717BB23D6FE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2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3.xml><?xml version="1.0" encoding="utf-8"?>
<a:theme xmlns:a="http://schemas.openxmlformats.org/drawingml/2006/main" name="85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4.xml><?xml version="1.0" encoding="utf-8"?>
<a:theme xmlns:a="http://schemas.openxmlformats.org/drawingml/2006/main" name="73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5.xml><?xml version="1.0" encoding="utf-8"?>
<a:theme xmlns:a="http://schemas.openxmlformats.org/drawingml/2006/main" name="84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6.xml><?xml version="1.0" encoding="utf-8"?>
<a:theme xmlns:a="http://schemas.openxmlformats.org/drawingml/2006/main" name="2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AE390A88-97CA-41E9-824B-643367F317B4}" vid="{FC435FCC-79BF-4757-8FA3-D717BB23D6FE}"/>
    </a:ext>
  </a:extLst>
</a:theme>
</file>

<file path=ppt/theme/theme7.xml><?xml version="1.0" encoding="utf-8"?>
<a:theme xmlns:a="http://schemas.openxmlformats.org/drawingml/2006/main" name="74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8.xml><?xml version="1.0" encoding="utf-8"?>
<a:theme xmlns:a="http://schemas.openxmlformats.org/drawingml/2006/main" name="75_Al Futtaim_CF_DE1410">
  <a:themeElements>
    <a:clrScheme name="Current">
      <a:dk1>
        <a:srgbClr val="000000"/>
      </a:dk1>
      <a:lt1>
        <a:srgbClr val="FFFFFF"/>
      </a:lt1>
      <a:dk2>
        <a:srgbClr val="005BAA"/>
      </a:dk2>
      <a:lt2>
        <a:srgbClr val="FFFFFF"/>
      </a:lt2>
      <a:accent1>
        <a:srgbClr val="E6E6E6"/>
      </a:accent1>
      <a:accent2>
        <a:srgbClr val="00AEE5"/>
      </a:accent2>
      <a:accent3>
        <a:srgbClr val="005BAA"/>
      </a:accent3>
      <a:accent4>
        <a:srgbClr val="152A38"/>
      </a:accent4>
      <a:accent5>
        <a:srgbClr val="238077"/>
      </a:accent5>
      <a:accent6>
        <a:srgbClr val="808080"/>
      </a:accent6>
      <a:hlink>
        <a:srgbClr val="005BAA"/>
      </a:hlink>
      <a:folHlink>
        <a:srgbClr val="152A3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BAA"/>
        </a:dk2>
        <a:lt2>
          <a:srgbClr val="FFFFFF"/>
        </a:lt2>
        <a:accent1>
          <a:srgbClr val="E6E6E6"/>
        </a:accent1>
        <a:accent2>
          <a:srgbClr val="00AEE5"/>
        </a:accent2>
        <a:accent3>
          <a:srgbClr val="005BAA"/>
        </a:accent3>
        <a:accent4>
          <a:srgbClr val="152A38"/>
        </a:accent4>
        <a:accent5>
          <a:srgbClr val="238077"/>
        </a:accent5>
        <a:accent6>
          <a:srgbClr val="808080"/>
        </a:accent6>
        <a:hlink>
          <a:srgbClr val="005BAA"/>
        </a:hlink>
        <a:folHlink>
          <a:srgbClr val="152A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l Futtaim_CF_DE1410_V1.potx" id="{764BBF8C-2801-46F6-B1CE-8119CDDC516A}" vid="{6041AC46-AD46-4216-A071-A5821F89D8A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341BA87934ED4D9274635D10C15AD4" ma:contentTypeVersion="15" ma:contentTypeDescription="Create a new document." ma:contentTypeScope="" ma:versionID="998741fe8534d306392f409a30ea09f2">
  <xsd:schema xmlns:xsd="http://www.w3.org/2001/XMLSchema" xmlns:xs="http://www.w3.org/2001/XMLSchema" xmlns:p="http://schemas.microsoft.com/office/2006/metadata/properties" xmlns:ns2="81c0dc77-60f5-4f99-bbca-b5091d896c3a" xmlns:ns3="8a59da31-eca7-495b-8729-68648cf49ba5" targetNamespace="http://schemas.microsoft.com/office/2006/metadata/properties" ma:root="true" ma:fieldsID="6c67552e784e6214f2db3dca39f2e52e" ns2:_="" ns3:_="">
    <xsd:import namespace="81c0dc77-60f5-4f99-bbca-b5091d896c3a"/>
    <xsd:import namespace="8a59da31-eca7-495b-8729-68648cf49b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c0dc77-60f5-4f99-bbca-b5091d896c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ff333aa0-1660-4a69-b487-86ecbf4b4bc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59da31-eca7-495b-8729-68648cf49ba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a2dc7382-b0bb-456d-a7f3-98e65e6a9c45}" ma:internalName="TaxCatchAll" ma:showField="CatchAllData" ma:web="8a59da31-eca7-495b-8729-68648cf49b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a59da31-eca7-495b-8729-68648cf49ba5">
      <UserInfo>
        <DisplayName>Shane Elliott</DisplayName>
        <AccountId>15</AccountId>
        <AccountType/>
      </UserInfo>
      <UserInfo>
        <DisplayName>Shaheen Lakdawalla</DisplayName>
        <AccountId>14</AccountId>
        <AccountType/>
      </UserInfo>
      <UserInfo>
        <DisplayName>Kevin Watkins</DisplayName>
        <AccountId>17</AccountId>
        <AccountType/>
      </UserInfo>
      <UserInfo>
        <DisplayName>Jetson Daniel</DisplayName>
        <AccountId>13</AccountId>
        <AccountType/>
      </UserInfo>
      <UserInfo>
        <DisplayName>James Philip</DisplayName>
        <AccountId>12</AccountId>
        <AccountType/>
      </UserInfo>
      <UserInfo>
        <DisplayName>Annastasia Raj</DisplayName>
        <AccountId>16</AccountId>
        <AccountType/>
      </UserInfo>
      <UserInfo>
        <DisplayName>Rechel Mamaed</DisplayName>
        <AccountId>18</AccountId>
        <AccountType/>
      </UserInfo>
    </SharedWithUsers>
    <lcf76f155ced4ddcb4097134ff3c332f xmlns="81c0dc77-60f5-4f99-bbca-b5091d896c3a">
      <Terms xmlns="http://schemas.microsoft.com/office/infopath/2007/PartnerControls"/>
    </lcf76f155ced4ddcb4097134ff3c332f>
    <TaxCatchAll xmlns="8a59da31-eca7-495b-8729-68648cf49ba5" xsi:nil="true"/>
  </documentManagement>
</p:properties>
</file>

<file path=customXml/itemProps1.xml><?xml version="1.0" encoding="utf-8"?>
<ds:datastoreItem xmlns:ds="http://schemas.openxmlformats.org/officeDocument/2006/customXml" ds:itemID="{194D1559-E7B0-42C2-9EF5-BE8A2B85353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9E8FCFA-85F2-4F07-9E36-1CD86F1592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c0dc77-60f5-4f99-bbca-b5091d896c3a"/>
    <ds:schemaRef ds:uri="8a59da31-eca7-495b-8729-68648cf49b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93946A5-626A-4738-86B3-53BE1AF9B0D6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8a59da31-eca7-495b-8729-68648cf49ba5"/>
    <ds:schemaRef ds:uri="http://schemas.microsoft.com/office/infopath/2007/PartnerControls"/>
    <ds:schemaRef ds:uri="81c0dc77-60f5-4f99-bbca-b5091d896c3a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743</TotalTime>
  <Words>1141</Words>
  <Application>Microsoft Office PowerPoint</Application>
  <PresentationFormat>Widescreen</PresentationFormat>
  <Paragraphs>398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8" baseType="lpstr">
      <vt:lpstr>Arial</vt:lpstr>
      <vt:lpstr>Calibri</vt:lpstr>
      <vt:lpstr>Calibri Light</vt:lpstr>
      <vt:lpstr>Graphik Semibold</vt:lpstr>
      <vt:lpstr>Open Sans</vt:lpstr>
      <vt:lpstr>Segoe UI</vt:lpstr>
      <vt:lpstr>Verdana</vt:lpstr>
      <vt:lpstr>Al Futtaim_CF_DE1410</vt:lpstr>
      <vt:lpstr>72_Al Futtaim_CF_DE1410</vt:lpstr>
      <vt:lpstr>85_Al Futtaim_CF_DE1410</vt:lpstr>
      <vt:lpstr>73_Al Futtaim_CF_DE1410</vt:lpstr>
      <vt:lpstr>84_Al Futtaim_CF_DE1410</vt:lpstr>
      <vt:lpstr>2_Al Futtaim_CF_DE1410</vt:lpstr>
      <vt:lpstr>74_Al Futtaim_CF_DE1410</vt:lpstr>
      <vt:lpstr>75_Al Futtaim_CF_DE1410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C 101 Communication Plan | Automotive Division (Draft)</vt:lpstr>
      <vt:lpstr>PowerPoint Presentation</vt:lpstr>
    </vt:vector>
  </TitlesOfParts>
  <Company>ALFUTTAIM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ha Patney</dc:creator>
  <cp:lastModifiedBy>Fatma Alsagaf</cp:lastModifiedBy>
  <cp:revision>35</cp:revision>
  <dcterms:created xsi:type="dcterms:W3CDTF">2023-05-08T13:10:28Z</dcterms:created>
  <dcterms:modified xsi:type="dcterms:W3CDTF">2024-04-19T07:4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341BA87934ED4D9274635D10C15AD4</vt:lpwstr>
  </property>
  <property fmtid="{D5CDD505-2E9C-101B-9397-08002B2CF9AE}" pid="3" name="MediaServiceImageTags">
    <vt:lpwstr/>
  </property>
</Properties>
</file>